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charts/chart6.xml" ContentType="application/vnd.openxmlformats-officedocument.drawingml.chart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omments/modernComment_1EB_93C5A2A5.xml" ContentType="application/vnd.ms-powerpoint.comments+xml"/>
  <Override PartName="/ppt/notesSlides/notesSlide6.xml" ContentType="application/vnd.openxmlformats-officedocument.presentationml.notesSlide+xml"/>
  <Override PartName="/ppt/comments/modernComment_1E9_883929D7.xml" ContentType="application/vnd.ms-powerpoint.comment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omments/modernComment_1F4_54B0A221.xml" ContentType="application/vnd.ms-powerpoint.comments+xml"/>
  <Override PartName="/ppt/notesSlides/notesSlide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2"/>
  </p:notesMasterIdLst>
  <p:handoutMasterIdLst>
    <p:handoutMasterId r:id="rId23"/>
  </p:handoutMasterIdLst>
  <p:sldIdLst>
    <p:sldId id="288" r:id="rId5"/>
    <p:sldId id="504" r:id="rId6"/>
    <p:sldId id="505" r:id="rId7"/>
    <p:sldId id="506" r:id="rId8"/>
    <p:sldId id="507" r:id="rId9"/>
    <p:sldId id="511" r:id="rId10"/>
    <p:sldId id="512" r:id="rId11"/>
    <p:sldId id="425" r:id="rId12"/>
    <p:sldId id="502" r:id="rId13"/>
    <p:sldId id="503" r:id="rId14"/>
    <p:sldId id="493" r:id="rId15"/>
    <p:sldId id="499" r:id="rId16"/>
    <p:sldId id="491" r:id="rId17"/>
    <p:sldId id="489" r:id="rId18"/>
    <p:sldId id="492" r:id="rId19"/>
    <p:sldId id="500" r:id="rId20"/>
    <p:sldId id="287" r:id="rId2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emplate" id="{8C9EAE48-0A0C-4635-91AF-2884C5485E2D}">
          <p14:sldIdLst>
            <p14:sldId id="288"/>
            <p14:sldId id="504"/>
            <p14:sldId id="505"/>
            <p14:sldId id="506"/>
            <p14:sldId id="507"/>
            <p14:sldId id="511"/>
            <p14:sldId id="512"/>
            <p14:sldId id="425"/>
            <p14:sldId id="502"/>
            <p14:sldId id="503"/>
            <p14:sldId id="493"/>
            <p14:sldId id="499"/>
            <p14:sldId id="491"/>
            <p14:sldId id="489"/>
            <p14:sldId id="492"/>
            <p14:sldId id="500"/>
            <p14:sldId id="287"/>
          </p14:sldIdLst>
        </p14:section>
        <p14:section name="Icons" id="{53391846-DF7D-42D5-B4FE-44F063769681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BEC6F38-1250-0DA9-2C9C-F604652C64CC}" name="Daniel Eyre" initials="DE" userId="S::daniel.eyre@cerecoreintl.net::e163f350-0bab-4d10-9e50-64ba0de210ac" providerId="AD"/>
  <p188:author id="{E802CAA8-ABCF-7A89-9E9A-11250B7A14CC}" name="Iro Akrioti" initials="IA" userId="S::iro.akrioti@cerecoreintl.net::00f3f4de-26c0-4016-bbfd-eb71f3dbcab3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iel Eyre" initials="DE" lastIdx="2" clrIdx="0">
    <p:extLst>
      <p:ext uri="{19B8F6BF-5375-455C-9EA6-DF929625EA0E}">
        <p15:presenceInfo xmlns:p15="http://schemas.microsoft.com/office/powerpoint/2012/main" userId="S-1-5-21-2411978397-3008853497-199673163-135527" providerId="AD"/>
      </p:ext>
    </p:extLst>
  </p:cmAuthor>
  <p:cmAuthor id="2" name="Daniel Eyre" initials="DE [2]" lastIdx="1" clrIdx="1">
    <p:extLst>
      <p:ext uri="{19B8F6BF-5375-455C-9EA6-DF929625EA0E}">
        <p15:presenceInfo xmlns:p15="http://schemas.microsoft.com/office/powerpoint/2012/main" userId="S::daniel.eyre@cerecoreintl.net::e163f350-0bab-4d10-9e50-64ba0de210ac" providerId="AD"/>
      </p:ext>
    </p:extLst>
  </p:cmAuthor>
  <p:cmAuthor id="3" name="Iro Akrioti" initials="IA" lastIdx="1" clrIdx="2">
    <p:extLst>
      <p:ext uri="{19B8F6BF-5375-455C-9EA6-DF929625EA0E}">
        <p15:presenceInfo xmlns:p15="http://schemas.microsoft.com/office/powerpoint/2012/main" userId="S::iro.akrioti@cerecoreintl.net::00f3f4de-26c0-4016-bbfd-eb71f3dbcab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CC6E8"/>
    <a:srgbClr val="B0DEF2"/>
    <a:srgbClr val="FEECBB"/>
    <a:srgbClr val="506FBC"/>
    <a:srgbClr val="EE3724"/>
    <a:srgbClr val="55B6E4"/>
    <a:srgbClr val="2D3741"/>
    <a:srgbClr val="141D35"/>
    <a:srgbClr val="E6F0F8"/>
    <a:srgbClr val="C3C3C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E56E893-98FD-0F53-E804-49F7F2A323A9}" v="11" dt="2025-10-01T00:26:39.791"/>
  </p1510:revLst>
</p1510:revInfo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0083" autoAdjust="0"/>
  </p:normalViewPr>
  <p:slideViewPr>
    <p:cSldViewPr snapToGrid="0">
      <p:cViewPr varScale="1">
        <p:scale>
          <a:sx n="102" d="100"/>
          <a:sy n="102" d="100"/>
        </p:scale>
        <p:origin x="918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Relationship Id="rId30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ro Akrioti" userId="00f3f4de-26c0-4016-bbfd-eb71f3dbcab3" providerId="ADAL" clId="{4CA6540E-6051-4D13-9D0B-2C13E51DAEEA}"/>
    <pc:docChg chg="custSel addSld delSld modSld modSection">
      <pc:chgData name="Iro Akrioti" userId="00f3f4de-26c0-4016-bbfd-eb71f3dbcab3" providerId="ADAL" clId="{4CA6540E-6051-4D13-9D0B-2C13E51DAEEA}" dt="2025-09-12T11:43:06.094" v="79" actId="2696"/>
      <pc:docMkLst>
        <pc:docMk/>
      </pc:docMkLst>
      <pc:sldChg chg="addSp delSp modSp add modAnim">
        <pc:chgData name="Iro Akrioti" userId="00f3f4de-26c0-4016-bbfd-eb71f3dbcab3" providerId="ADAL" clId="{4CA6540E-6051-4D13-9D0B-2C13E51DAEEA}" dt="2025-09-12T11:41:28.725" v="69"/>
        <pc:sldMkLst>
          <pc:docMk/>
          <pc:sldMk cId="739764122" sldId="511"/>
        </pc:sldMkLst>
        <pc:spChg chg="mod">
          <ac:chgData name="Iro Akrioti" userId="00f3f4de-26c0-4016-bbfd-eb71f3dbcab3" providerId="ADAL" clId="{4CA6540E-6051-4D13-9D0B-2C13E51DAEEA}" dt="2025-09-12T11:39:57.295" v="55"/>
          <ac:spMkLst>
            <pc:docMk/>
            <pc:sldMk cId="739764122" sldId="511"/>
            <ac:spMk id="2" creationId="{D906324E-6AA2-4859-889A-2FC578591E64}"/>
          </ac:spMkLst>
        </pc:spChg>
        <pc:spChg chg="add">
          <ac:chgData name="Iro Akrioti" userId="00f3f4de-26c0-4016-bbfd-eb71f3dbcab3" providerId="ADAL" clId="{4CA6540E-6051-4D13-9D0B-2C13E51DAEEA}" dt="2025-09-12T11:39:50.885" v="54"/>
          <ac:spMkLst>
            <pc:docMk/>
            <pc:sldMk cId="739764122" sldId="511"/>
            <ac:spMk id="4" creationId="{2F1589A3-19A3-4293-B3B3-3046B7D4D7FB}"/>
          </ac:spMkLst>
        </pc:spChg>
        <pc:spChg chg="add">
          <ac:chgData name="Iro Akrioti" userId="00f3f4de-26c0-4016-bbfd-eb71f3dbcab3" providerId="ADAL" clId="{4CA6540E-6051-4D13-9D0B-2C13E51DAEEA}" dt="2025-09-12T11:39:50.885" v="54"/>
          <ac:spMkLst>
            <pc:docMk/>
            <pc:sldMk cId="739764122" sldId="511"/>
            <ac:spMk id="5" creationId="{7386138A-234F-4201-97EB-53A57260E107}"/>
          </ac:spMkLst>
        </pc:spChg>
        <pc:spChg chg="add">
          <ac:chgData name="Iro Akrioti" userId="00f3f4de-26c0-4016-bbfd-eb71f3dbcab3" providerId="ADAL" clId="{4CA6540E-6051-4D13-9D0B-2C13E51DAEEA}" dt="2025-09-12T11:39:50.885" v="54"/>
          <ac:spMkLst>
            <pc:docMk/>
            <pc:sldMk cId="739764122" sldId="511"/>
            <ac:spMk id="6" creationId="{F8215EFE-3B85-4B94-BD39-E03F9818EEAE}"/>
          </ac:spMkLst>
        </pc:spChg>
        <pc:spChg chg="add">
          <ac:chgData name="Iro Akrioti" userId="00f3f4de-26c0-4016-bbfd-eb71f3dbcab3" providerId="ADAL" clId="{4CA6540E-6051-4D13-9D0B-2C13E51DAEEA}" dt="2025-09-12T11:39:50.885" v="54"/>
          <ac:spMkLst>
            <pc:docMk/>
            <pc:sldMk cId="739764122" sldId="511"/>
            <ac:spMk id="7" creationId="{B95AC803-9BA8-46A1-A3FD-024B073A661F}"/>
          </ac:spMkLst>
        </pc:spChg>
        <pc:spChg chg="add">
          <ac:chgData name="Iro Akrioti" userId="00f3f4de-26c0-4016-bbfd-eb71f3dbcab3" providerId="ADAL" clId="{4CA6540E-6051-4D13-9D0B-2C13E51DAEEA}" dt="2025-09-12T11:39:50.885" v="54"/>
          <ac:spMkLst>
            <pc:docMk/>
            <pc:sldMk cId="739764122" sldId="511"/>
            <ac:spMk id="8" creationId="{034F913B-D76E-460C-9C85-C55CEBC5CFBD}"/>
          </ac:spMkLst>
        </pc:spChg>
        <pc:spChg chg="add">
          <ac:chgData name="Iro Akrioti" userId="00f3f4de-26c0-4016-bbfd-eb71f3dbcab3" providerId="ADAL" clId="{4CA6540E-6051-4D13-9D0B-2C13E51DAEEA}" dt="2025-09-12T11:39:50.885" v="54"/>
          <ac:spMkLst>
            <pc:docMk/>
            <pc:sldMk cId="739764122" sldId="511"/>
            <ac:spMk id="9" creationId="{3E149EF0-A736-4EFA-A850-FF4C69C5316D}"/>
          </ac:spMkLst>
        </pc:spChg>
      </pc:sldChg>
      <pc:sldChg chg="addSp delSp modSp add modAnim">
        <pc:chgData name="Iro Akrioti" userId="00f3f4de-26c0-4016-bbfd-eb71f3dbcab3" providerId="ADAL" clId="{4CA6540E-6051-4D13-9D0B-2C13E51DAEEA}" dt="2025-09-12T11:42:58.689" v="78"/>
        <pc:sldMkLst>
          <pc:docMk/>
          <pc:sldMk cId="735242294" sldId="512"/>
        </pc:sldMkLst>
        <pc:spChg chg="mod">
          <ac:chgData name="Iro Akrioti" userId="00f3f4de-26c0-4016-bbfd-eb71f3dbcab3" providerId="ADAL" clId="{4CA6540E-6051-4D13-9D0B-2C13E51DAEEA}" dt="2025-09-12T11:42:15.784" v="72"/>
          <ac:spMkLst>
            <pc:docMk/>
            <pc:sldMk cId="735242294" sldId="512"/>
            <ac:spMk id="2" creationId="{926A7AFD-A5F0-42B2-81F5-9292A1941D4D}"/>
          </ac:spMkLst>
        </pc:spChg>
        <pc:spChg chg="add mod">
          <ac:chgData name="Iro Akrioti" userId="00f3f4de-26c0-4016-bbfd-eb71f3dbcab3" providerId="ADAL" clId="{4CA6540E-6051-4D13-9D0B-2C13E51DAEEA}" dt="2025-09-12T11:42:36.717" v="75" actId="14100"/>
          <ac:spMkLst>
            <pc:docMk/>
            <pc:sldMk cId="735242294" sldId="512"/>
            <ac:spMk id="4" creationId="{8BAFDA0A-5202-4CF9-B39C-40BB3CFDF781}"/>
          </ac:spMkLst>
        </pc:spChg>
        <pc:spChg chg="add mod">
          <ac:chgData name="Iro Akrioti" userId="00f3f4de-26c0-4016-bbfd-eb71f3dbcab3" providerId="ADAL" clId="{4CA6540E-6051-4D13-9D0B-2C13E51DAEEA}" dt="2025-09-12T11:42:42.010" v="76" actId="14100"/>
          <ac:spMkLst>
            <pc:docMk/>
            <pc:sldMk cId="735242294" sldId="512"/>
            <ac:spMk id="5" creationId="{A908E599-9470-4F99-997E-40480594357C}"/>
          </ac:spMkLst>
        </pc:spChg>
        <pc:spChg chg="add mod">
          <ac:chgData name="Iro Akrioti" userId="00f3f4de-26c0-4016-bbfd-eb71f3dbcab3" providerId="ADAL" clId="{4CA6540E-6051-4D13-9D0B-2C13E51DAEEA}" dt="2025-09-12T11:42:45.593" v="77" actId="14100"/>
          <ac:spMkLst>
            <pc:docMk/>
            <pc:sldMk cId="735242294" sldId="512"/>
            <ac:spMk id="6" creationId="{BF9E8B36-9627-4A35-8210-00CAE0667EB8}"/>
          </ac:spMkLst>
        </pc:spChg>
      </pc:sldChg>
    </pc:docChg>
  </pc:docChgLst>
  <pc:docChgLst>
    <pc:chgData name="paul@investnet.ie" userId="S::urn:spo:guest#paul@investnet.ie::" providerId="AD" clId="Web-{8E56E893-98FD-0F53-E804-49F7F2A323A9}"/>
    <pc:docChg chg="modSld">
      <pc:chgData name="paul@investnet.ie" userId="S::urn:spo:guest#paul@investnet.ie::" providerId="AD" clId="Web-{8E56E893-98FD-0F53-E804-49F7F2A323A9}" dt="2025-10-01T00:26:38.869" v="11" actId="20577"/>
      <pc:docMkLst>
        <pc:docMk/>
      </pc:docMkLst>
      <pc:sldChg chg="modSp">
        <pc:chgData name="paul@investnet.ie" userId="S::urn:spo:guest#paul@investnet.ie::" providerId="AD" clId="Web-{8E56E893-98FD-0F53-E804-49F7F2A323A9}" dt="2025-10-01T00:26:38.869" v="11" actId="20577"/>
        <pc:sldMkLst>
          <pc:docMk/>
          <pc:sldMk cId="4078793300" sldId="288"/>
        </pc:sldMkLst>
        <pc:spChg chg="mod">
          <ac:chgData name="paul@investnet.ie" userId="S::urn:spo:guest#paul@investnet.ie::" providerId="AD" clId="Web-{8E56E893-98FD-0F53-E804-49F7F2A323A9}" dt="2025-10-01T00:26:38.869" v="11" actId="20577"/>
          <ac:spMkLst>
            <pc:docMk/>
            <pc:sldMk cId="4078793300" sldId="288"/>
            <ac:spMk id="3" creationId="{F6AE8BEA-0190-464E-8015-399DC7925547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6207477265072417E-2"/>
          <c:y val="8.4037558685446004E-2"/>
          <c:w val="0.92758504546985521"/>
          <c:h val="0.78497652582159627"/>
        </c:manualLayout>
      </c:layout>
      <c:scatterChart>
        <c:scatterStyle val="lineMarker"/>
        <c:varyColors val="0"/>
        <c:ser>
          <c:idx val="0"/>
          <c:order val="0"/>
          <c:spPr>
            <a:ln w="28575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1.4482990906028967E-2"/>
                  <c:y val="-4.50704225352112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C2D-4CD9-88D0-871A3A412AA3}"/>
                </c:ext>
              </c:extLst>
            </c:dLbl>
            <c:dLbl>
              <c:idx val="3"/>
              <c:layout>
                <c:manualLayout>
                  <c:x val="0"/>
                  <c:y val="-4.50704225352112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C2D-4CD9-88D0-871A3A412AA3}"/>
                </c:ext>
              </c:extLst>
            </c:dLbl>
            <c:dLbl>
              <c:idx val="6"/>
              <c:layout>
                <c:manualLayout>
                  <c:x val="0"/>
                  <c:y val="-4.50704225352112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CC2D-4CD9-88D0-871A3A412AA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>
                    <a:solidFill>
                      <a:schemeClr val="accent1"/>
                    </a:solidFill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G$1</c:f>
              <c:numCache>
                <c:formatCode>General</c:formatCode>
                <c:ptCount val="7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</c:numCache>
            </c:numRef>
          </c:xVal>
          <c:yVal>
            <c:numRef>
              <c:f>Sheet1!$A$2:$G$2</c:f>
              <c:numCache>
                <c:formatCode>General</c:formatCode>
                <c:ptCount val="7"/>
                <c:pt idx="0">
                  <c:v>28.999999999999996</c:v>
                </c:pt>
                <c:pt idx="1">
                  <c:v>30</c:v>
                </c:pt>
                <c:pt idx="2">
                  <c:v>25</c:v>
                </c:pt>
                <c:pt idx="3">
                  <c:v>25</c:v>
                </c:pt>
                <c:pt idx="4">
                  <c:v>41</c:v>
                </c:pt>
                <c:pt idx="5">
                  <c:v>51</c:v>
                </c:pt>
                <c:pt idx="6">
                  <c:v>5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CC2D-4CD9-88D0-871A3A412AA3}"/>
            </c:ext>
          </c:extLst>
        </c:ser>
        <c:ser>
          <c:idx val="1"/>
          <c:order val="1"/>
          <c:spPr>
            <a:ln w="28575" cmpd="sng" algn="ctr">
              <a:solidFill>
                <a:srgbClr val="9A9A9A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1.4482990906028967E-2"/>
                  <c:y val="4.78873239436619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accent6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CC2D-4CD9-88D0-871A3A412AA3}"/>
                </c:ext>
              </c:extLst>
            </c:dLbl>
            <c:dLbl>
              <c:idx val="3"/>
              <c:layout>
                <c:manualLayout>
                  <c:x val="0"/>
                  <c:y val="4.78873239436619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accent6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CC2D-4CD9-88D0-871A3A412AA3}"/>
                </c:ext>
              </c:extLst>
            </c:dLbl>
            <c:dLbl>
              <c:idx val="6"/>
              <c:layout>
                <c:manualLayout>
                  <c:x val="0"/>
                  <c:y val="4.78873239436619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accent6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CC2D-4CD9-88D0-871A3A412AA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>
                    <a:solidFill>
                      <a:schemeClr val="accent6"/>
                    </a:solidFill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G$1</c:f>
              <c:numCache>
                <c:formatCode>General</c:formatCode>
                <c:ptCount val="7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</c:numCache>
            </c:numRef>
          </c:xVal>
          <c:yVal>
            <c:numRef>
              <c:f>Sheet1!$A$3:$G$3</c:f>
              <c:numCache>
                <c:formatCode>General</c:formatCode>
                <c:ptCount val="7"/>
                <c:pt idx="0">
                  <c:v>14.000000000000002</c:v>
                </c:pt>
                <c:pt idx="1">
                  <c:v>16</c:v>
                </c:pt>
                <c:pt idx="2">
                  <c:v>15</c:v>
                </c:pt>
                <c:pt idx="3">
                  <c:v>22</c:v>
                </c:pt>
                <c:pt idx="4">
                  <c:v>23</c:v>
                </c:pt>
                <c:pt idx="5">
                  <c:v>20</c:v>
                </c:pt>
                <c:pt idx="6">
                  <c:v>2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7-CC2D-4CD9-88D0-871A3A412AA3}"/>
            </c:ext>
          </c:extLst>
        </c:ser>
        <c:ser>
          <c:idx val="2"/>
          <c:order val="2"/>
          <c:spPr>
            <a:ln w="28575" cmpd="sng" algn="ctr">
              <a:solidFill>
                <a:srgbClr val="55B6E4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1.4482990906028967E-2"/>
                  <c:y val="-4.50704225352112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CC2D-4CD9-88D0-871A3A412AA3}"/>
                </c:ext>
              </c:extLst>
            </c:dLbl>
            <c:dLbl>
              <c:idx val="3"/>
              <c:layout>
                <c:manualLayout>
                  <c:x val="0"/>
                  <c:y val="-4.50704225352112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CC2D-4CD9-88D0-871A3A412AA3}"/>
                </c:ext>
              </c:extLst>
            </c:dLbl>
            <c:dLbl>
              <c:idx val="6"/>
              <c:layout>
                <c:manualLayout>
                  <c:x val="0"/>
                  <c:y val="-4.50704225352112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CC2D-4CD9-88D0-871A3A412AA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>
                    <a:solidFill>
                      <a:schemeClr val="bg2"/>
                    </a:solidFill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G$1</c:f>
              <c:numCache>
                <c:formatCode>General</c:formatCode>
                <c:ptCount val="7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</c:numCache>
            </c:numRef>
          </c:xVal>
          <c:yVal>
            <c:numRef>
              <c:f>Sheet1!$A$4:$G$4</c:f>
              <c:numCache>
                <c:formatCode>General</c:formatCode>
                <c:ptCount val="7"/>
                <c:pt idx="0">
                  <c:v>57.000000000000007</c:v>
                </c:pt>
                <c:pt idx="1">
                  <c:v>53</c:v>
                </c:pt>
                <c:pt idx="2">
                  <c:v>60</c:v>
                </c:pt>
                <c:pt idx="3">
                  <c:v>53</c:v>
                </c:pt>
                <c:pt idx="4">
                  <c:v>36</c:v>
                </c:pt>
                <c:pt idx="5">
                  <c:v>29.000000000000004</c:v>
                </c:pt>
                <c:pt idx="6">
                  <c:v>2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B-CC2D-4CD9-88D0-871A3A412A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2023"/>
          <c:min val="2017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rgbClr val="7F7F7F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"/>
        <c:crosses val="min"/>
        <c:crossBetween val="midCat"/>
        <c:majorUnit val="1"/>
      </c:valAx>
      <c:valAx>
        <c:axId val="5"/>
        <c:scaling>
          <c:orientation val="minMax"/>
          <c:max val="6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538461538461539"/>
          <c:y val="9.9364791288566248E-2"/>
          <c:w val="0.85486211901306242"/>
          <c:h val="0.80127041742286753"/>
        </c:manualLayout>
      </c:layout>
      <c:scatterChart>
        <c:scatterStyle val="lineMarker"/>
        <c:varyColors val="0"/>
        <c:ser>
          <c:idx val="0"/>
          <c:order val="0"/>
          <c:spPr>
            <a:ln w="28575" cmpd="sng" algn="ctr">
              <a:solidFill>
                <a:schemeClr val="tx1"/>
              </a:solidFill>
              <a:prstDash val="solid"/>
            </a:ln>
          </c:spPr>
          <c:marker>
            <c:symbol val="none"/>
          </c:marker>
          <c:dLbls>
            <c:dLbl>
              <c:idx val="10"/>
              <c:layout>
                <c:manualLayout>
                  <c:x val="-4.0275761973875182E-2"/>
                  <c:y val="3.176043557168783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860-40A7-8B05-1564D23BC5E5}"/>
                </c:ext>
              </c:extLst>
            </c:dLbl>
            <c:dLbl>
              <c:idx val="32"/>
              <c:layout>
                <c:manualLayout>
                  <c:x val="0"/>
                  <c:y val="-5.444646098003629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860-40A7-8B05-1564D23BC5E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AG$1</c:f>
              <c:numCache>
                <c:formatCode>General</c:formatCode>
                <c:ptCount val="33"/>
                <c:pt idx="0">
                  <c:v>14914</c:v>
                </c:pt>
                <c:pt idx="1">
                  <c:v>15065</c:v>
                </c:pt>
                <c:pt idx="2">
                  <c:v>15218</c:v>
                </c:pt>
                <c:pt idx="3">
                  <c:v>15371</c:v>
                </c:pt>
                <c:pt idx="4">
                  <c:v>15522</c:v>
                </c:pt>
                <c:pt idx="5">
                  <c:v>15675</c:v>
                </c:pt>
                <c:pt idx="6">
                  <c:v>15826</c:v>
                </c:pt>
                <c:pt idx="7">
                  <c:v>15979</c:v>
                </c:pt>
                <c:pt idx="8">
                  <c:v>16130</c:v>
                </c:pt>
                <c:pt idx="9">
                  <c:v>16283</c:v>
                </c:pt>
                <c:pt idx="10">
                  <c:v>16436</c:v>
                </c:pt>
                <c:pt idx="11">
                  <c:v>16587</c:v>
                </c:pt>
                <c:pt idx="12">
                  <c:v>16740</c:v>
                </c:pt>
                <c:pt idx="13">
                  <c:v>16892</c:v>
                </c:pt>
                <c:pt idx="14">
                  <c:v>17045</c:v>
                </c:pt>
                <c:pt idx="15">
                  <c:v>17198</c:v>
                </c:pt>
                <c:pt idx="16">
                  <c:v>17348</c:v>
                </c:pt>
                <c:pt idx="17">
                  <c:v>17501</c:v>
                </c:pt>
                <c:pt idx="18">
                  <c:v>17652</c:v>
                </c:pt>
                <c:pt idx="19">
                  <c:v>17805</c:v>
                </c:pt>
                <c:pt idx="20">
                  <c:v>17956</c:v>
                </c:pt>
                <c:pt idx="21">
                  <c:v>18109</c:v>
                </c:pt>
                <c:pt idx="22">
                  <c:v>18262</c:v>
                </c:pt>
                <c:pt idx="23">
                  <c:v>18414</c:v>
                </c:pt>
                <c:pt idx="24">
                  <c:v>18567</c:v>
                </c:pt>
                <c:pt idx="25">
                  <c:v>18718</c:v>
                </c:pt>
                <c:pt idx="26">
                  <c:v>18871</c:v>
                </c:pt>
                <c:pt idx="27">
                  <c:v>19024</c:v>
                </c:pt>
                <c:pt idx="28">
                  <c:v>19174</c:v>
                </c:pt>
                <c:pt idx="29">
                  <c:v>19327</c:v>
                </c:pt>
                <c:pt idx="30">
                  <c:v>19478</c:v>
                </c:pt>
                <c:pt idx="31">
                  <c:v>19631</c:v>
                </c:pt>
                <c:pt idx="32">
                  <c:v>19783</c:v>
                </c:pt>
              </c:numCache>
            </c:numRef>
          </c:xVal>
          <c:yVal>
            <c:numRef>
              <c:f>Sheet1!$A$2:$AG$2</c:f>
              <c:numCache>
                <c:formatCode>General</c:formatCode>
                <c:ptCount val="33"/>
                <c:pt idx="0">
                  <c:v>97.2</c:v>
                </c:pt>
                <c:pt idx="1">
                  <c:v>96.899999999999991</c:v>
                </c:pt>
                <c:pt idx="2">
                  <c:v>96.899999999999991</c:v>
                </c:pt>
                <c:pt idx="3">
                  <c:v>95</c:v>
                </c:pt>
                <c:pt idx="4">
                  <c:v>97.1</c:v>
                </c:pt>
                <c:pt idx="5">
                  <c:v>94.699999999999989</c:v>
                </c:pt>
                <c:pt idx="6">
                  <c:v>96.6</c:v>
                </c:pt>
                <c:pt idx="7">
                  <c:v>95.7</c:v>
                </c:pt>
                <c:pt idx="8">
                  <c:v>95.6</c:v>
                </c:pt>
                <c:pt idx="9">
                  <c:v>95.1</c:v>
                </c:pt>
                <c:pt idx="10">
                  <c:v>91.2</c:v>
                </c:pt>
                <c:pt idx="11">
                  <c:v>94.8</c:v>
                </c:pt>
                <c:pt idx="12">
                  <c:v>91.3</c:v>
                </c:pt>
                <c:pt idx="13">
                  <c:v>90</c:v>
                </c:pt>
                <c:pt idx="14">
                  <c:v>90.600000000000009</c:v>
                </c:pt>
                <c:pt idx="15">
                  <c:v>87.5</c:v>
                </c:pt>
                <c:pt idx="16">
                  <c:v>90.3</c:v>
                </c:pt>
                <c:pt idx="17">
                  <c:v>85.3</c:v>
                </c:pt>
                <c:pt idx="18">
                  <c:v>90.4</c:v>
                </c:pt>
                <c:pt idx="19">
                  <c:v>89</c:v>
                </c:pt>
                <c:pt idx="20">
                  <c:v>86.6</c:v>
                </c:pt>
                <c:pt idx="21">
                  <c:v>86.3</c:v>
                </c:pt>
                <c:pt idx="22">
                  <c:v>81.699999999999989</c:v>
                </c:pt>
                <c:pt idx="23">
                  <c:v>92.800000000000011</c:v>
                </c:pt>
                <c:pt idx="24">
                  <c:v>87.3</c:v>
                </c:pt>
                <c:pt idx="25">
                  <c:v>85.399999999999991</c:v>
                </c:pt>
                <c:pt idx="26">
                  <c:v>75.2</c:v>
                </c:pt>
                <c:pt idx="27">
                  <c:v>73.3</c:v>
                </c:pt>
                <c:pt idx="28">
                  <c:v>72.099999999999994</c:v>
                </c:pt>
                <c:pt idx="29">
                  <c:v>65.2</c:v>
                </c:pt>
                <c:pt idx="30">
                  <c:v>74</c:v>
                </c:pt>
                <c:pt idx="31">
                  <c:v>70.2</c:v>
                </c:pt>
                <c:pt idx="32">
                  <c:v>74.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0860-40A7-8B05-1564D23BC5E5}"/>
            </c:ext>
          </c:extLst>
        </c:ser>
        <c:ser>
          <c:idx val="1"/>
          <c:order val="1"/>
          <c:spPr>
            <a:ln w="28575" cmpd="sng" algn="ctr">
              <a:solidFill>
                <a:srgbClr val="837F7F"/>
              </a:solidFill>
              <a:prstDash val="solid"/>
            </a:ln>
          </c:spPr>
          <c:marker>
            <c:symbol val="none"/>
          </c:marker>
          <c:xVal>
            <c:numRef>
              <c:f>Sheet1!$A$1:$AG$1</c:f>
              <c:numCache>
                <c:formatCode>General</c:formatCode>
                <c:ptCount val="33"/>
                <c:pt idx="0">
                  <c:v>14914</c:v>
                </c:pt>
                <c:pt idx="1">
                  <c:v>15065</c:v>
                </c:pt>
                <c:pt idx="2">
                  <c:v>15218</c:v>
                </c:pt>
                <c:pt idx="3">
                  <c:v>15371</c:v>
                </c:pt>
                <c:pt idx="4">
                  <c:v>15522</c:v>
                </c:pt>
                <c:pt idx="5">
                  <c:v>15675</c:v>
                </c:pt>
                <c:pt idx="6">
                  <c:v>15826</c:v>
                </c:pt>
                <c:pt idx="7">
                  <c:v>15979</c:v>
                </c:pt>
                <c:pt idx="8">
                  <c:v>16130</c:v>
                </c:pt>
                <c:pt idx="9">
                  <c:v>16283</c:v>
                </c:pt>
                <c:pt idx="10">
                  <c:v>16436</c:v>
                </c:pt>
                <c:pt idx="11">
                  <c:v>16587</c:v>
                </c:pt>
                <c:pt idx="12">
                  <c:v>16740</c:v>
                </c:pt>
                <c:pt idx="13">
                  <c:v>16892</c:v>
                </c:pt>
                <c:pt idx="14">
                  <c:v>17045</c:v>
                </c:pt>
                <c:pt idx="15">
                  <c:v>17198</c:v>
                </c:pt>
                <c:pt idx="16">
                  <c:v>17348</c:v>
                </c:pt>
                <c:pt idx="17">
                  <c:v>17501</c:v>
                </c:pt>
                <c:pt idx="18">
                  <c:v>17652</c:v>
                </c:pt>
                <c:pt idx="19">
                  <c:v>17805</c:v>
                </c:pt>
                <c:pt idx="20">
                  <c:v>17956</c:v>
                </c:pt>
                <c:pt idx="21">
                  <c:v>18109</c:v>
                </c:pt>
                <c:pt idx="22">
                  <c:v>18262</c:v>
                </c:pt>
                <c:pt idx="23">
                  <c:v>18414</c:v>
                </c:pt>
                <c:pt idx="24">
                  <c:v>18567</c:v>
                </c:pt>
                <c:pt idx="25">
                  <c:v>18718</c:v>
                </c:pt>
                <c:pt idx="26">
                  <c:v>18871</c:v>
                </c:pt>
                <c:pt idx="27">
                  <c:v>19024</c:v>
                </c:pt>
                <c:pt idx="28">
                  <c:v>19174</c:v>
                </c:pt>
                <c:pt idx="29">
                  <c:v>19327</c:v>
                </c:pt>
                <c:pt idx="30">
                  <c:v>19478</c:v>
                </c:pt>
                <c:pt idx="31">
                  <c:v>19631</c:v>
                </c:pt>
                <c:pt idx="32">
                  <c:v>19783</c:v>
                </c:pt>
              </c:numCache>
            </c:numRef>
          </c:xVal>
          <c:yVal>
            <c:numRef>
              <c:f>Sheet1!$A$3:$AG$3</c:f>
              <c:numCache>
                <c:formatCode>General</c:formatCode>
                <c:ptCount val="33"/>
                <c:pt idx="0">
                  <c:v>95</c:v>
                </c:pt>
                <c:pt idx="1">
                  <c:v>95</c:v>
                </c:pt>
                <c:pt idx="2">
                  <c:v>95</c:v>
                </c:pt>
                <c:pt idx="3">
                  <c:v>95</c:v>
                </c:pt>
                <c:pt idx="4">
                  <c:v>95</c:v>
                </c:pt>
                <c:pt idx="5">
                  <c:v>95</c:v>
                </c:pt>
                <c:pt idx="6">
                  <c:v>95</c:v>
                </c:pt>
                <c:pt idx="7">
                  <c:v>95</c:v>
                </c:pt>
                <c:pt idx="8">
                  <c:v>95</c:v>
                </c:pt>
                <c:pt idx="9">
                  <c:v>95</c:v>
                </c:pt>
                <c:pt idx="10">
                  <c:v>95</c:v>
                </c:pt>
                <c:pt idx="11">
                  <c:v>95</c:v>
                </c:pt>
                <c:pt idx="12">
                  <c:v>95</c:v>
                </c:pt>
                <c:pt idx="13">
                  <c:v>95</c:v>
                </c:pt>
                <c:pt idx="14">
                  <c:v>95</c:v>
                </c:pt>
                <c:pt idx="15">
                  <c:v>95</c:v>
                </c:pt>
                <c:pt idx="16">
                  <c:v>95</c:v>
                </c:pt>
                <c:pt idx="17">
                  <c:v>95</c:v>
                </c:pt>
                <c:pt idx="18">
                  <c:v>95</c:v>
                </c:pt>
                <c:pt idx="19">
                  <c:v>95</c:v>
                </c:pt>
                <c:pt idx="20">
                  <c:v>95</c:v>
                </c:pt>
                <c:pt idx="21">
                  <c:v>95</c:v>
                </c:pt>
                <c:pt idx="22">
                  <c:v>95</c:v>
                </c:pt>
                <c:pt idx="23">
                  <c:v>95</c:v>
                </c:pt>
                <c:pt idx="24">
                  <c:v>95</c:v>
                </c:pt>
                <c:pt idx="25">
                  <c:v>95</c:v>
                </c:pt>
                <c:pt idx="26">
                  <c:v>95</c:v>
                </c:pt>
                <c:pt idx="27">
                  <c:v>95</c:v>
                </c:pt>
                <c:pt idx="28">
                  <c:v>95</c:v>
                </c:pt>
                <c:pt idx="29">
                  <c:v>95</c:v>
                </c:pt>
                <c:pt idx="30">
                  <c:v>95</c:v>
                </c:pt>
                <c:pt idx="31">
                  <c:v>95</c:v>
                </c:pt>
                <c:pt idx="32">
                  <c:v>9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0860-40A7-8B05-1564D23BC5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9814"/>
          <c:min val="1461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100"/>
          <c:min val="6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rgbClr val="7F7F7F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"/>
        <c:crosses val="min"/>
        <c:crossBetween val="midCat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7249657064471879"/>
          <c:y val="0.1082659478885894"/>
          <c:w val="0.8079561042524005"/>
          <c:h val="0.793351302785265"/>
        </c:manualLayout>
      </c:layout>
      <c:scatterChart>
        <c:scatterStyle val="lineMarker"/>
        <c:varyColors val="0"/>
        <c:ser>
          <c:idx val="0"/>
          <c:order val="0"/>
          <c:spPr>
            <a:ln w="28575" cmpd="sng" algn="ctr">
              <a:solidFill>
                <a:schemeClr val="tx1"/>
              </a:solidFill>
              <a:prstDash val="solid"/>
            </a:ln>
          </c:spPr>
          <c:marker>
            <c:symbol val="none"/>
          </c:marker>
          <c:dLbls>
            <c:dLbl>
              <c:idx val="12"/>
              <c:layout>
                <c:manualLayout>
                  <c:x val="0"/>
                  <c:y val="-5.390835579514825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4BD-4583-96B0-4F01E013D72C}"/>
                </c:ext>
              </c:extLst>
            </c:dLbl>
            <c:dLbl>
              <c:idx val="25"/>
              <c:layout>
                <c:manualLayout>
                  <c:x val="0"/>
                  <c:y val="-5.390835579514825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4BD-4583-96B0-4F01E013D72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Z$1</c:f>
              <c:numCache>
                <c:formatCode>General</c:formatCode>
                <c:ptCount val="26"/>
                <c:pt idx="0">
                  <c:v>16495</c:v>
                </c:pt>
                <c:pt idx="1">
                  <c:v>16892</c:v>
                </c:pt>
                <c:pt idx="2">
                  <c:v>17136</c:v>
                </c:pt>
                <c:pt idx="3">
                  <c:v>17198</c:v>
                </c:pt>
                <c:pt idx="4">
                  <c:v>17348</c:v>
                </c:pt>
                <c:pt idx="5">
                  <c:v>17501</c:v>
                </c:pt>
                <c:pt idx="6">
                  <c:v>17591</c:v>
                </c:pt>
                <c:pt idx="7">
                  <c:v>17683</c:v>
                </c:pt>
                <c:pt idx="8">
                  <c:v>17866</c:v>
                </c:pt>
                <c:pt idx="9">
                  <c:v>17956</c:v>
                </c:pt>
                <c:pt idx="10">
                  <c:v>18109</c:v>
                </c:pt>
                <c:pt idx="11">
                  <c:v>18231</c:v>
                </c:pt>
                <c:pt idx="12">
                  <c:v>18322</c:v>
                </c:pt>
                <c:pt idx="13">
                  <c:v>18414</c:v>
                </c:pt>
                <c:pt idx="14">
                  <c:v>18506</c:v>
                </c:pt>
                <c:pt idx="15">
                  <c:v>18597</c:v>
                </c:pt>
                <c:pt idx="16">
                  <c:v>18718</c:v>
                </c:pt>
                <c:pt idx="17">
                  <c:v>18871</c:v>
                </c:pt>
                <c:pt idx="18">
                  <c:v>18962</c:v>
                </c:pt>
                <c:pt idx="19">
                  <c:v>19024</c:v>
                </c:pt>
                <c:pt idx="20">
                  <c:v>19174</c:v>
                </c:pt>
                <c:pt idx="21">
                  <c:v>19327</c:v>
                </c:pt>
                <c:pt idx="22">
                  <c:v>19417</c:v>
                </c:pt>
                <c:pt idx="23">
                  <c:v>19601</c:v>
                </c:pt>
                <c:pt idx="24">
                  <c:v>19692</c:v>
                </c:pt>
                <c:pt idx="25">
                  <c:v>19783</c:v>
                </c:pt>
              </c:numCache>
            </c:numRef>
          </c:xVal>
          <c:yVal>
            <c:numRef>
              <c:f>Sheet1!$A$2:$Z$2</c:f>
              <c:numCache>
                <c:formatCode>General</c:formatCode>
                <c:ptCount val="26"/>
                <c:pt idx="0">
                  <c:v>987</c:v>
                </c:pt>
                <c:pt idx="1">
                  <c:v>695</c:v>
                </c:pt>
                <c:pt idx="2">
                  <c:v>1262</c:v>
                </c:pt>
                <c:pt idx="3">
                  <c:v>1597</c:v>
                </c:pt>
                <c:pt idx="4">
                  <c:v>313</c:v>
                </c:pt>
                <c:pt idx="5">
                  <c:v>681</c:v>
                </c:pt>
                <c:pt idx="6">
                  <c:v>2276</c:v>
                </c:pt>
                <c:pt idx="7">
                  <c:v>561</c:v>
                </c:pt>
                <c:pt idx="8">
                  <c:v>757</c:v>
                </c:pt>
                <c:pt idx="9">
                  <c:v>1479</c:v>
                </c:pt>
                <c:pt idx="10">
                  <c:v>1281</c:v>
                </c:pt>
                <c:pt idx="11">
                  <c:v>4192</c:v>
                </c:pt>
                <c:pt idx="12">
                  <c:v>5642</c:v>
                </c:pt>
                <c:pt idx="13">
                  <c:v>503</c:v>
                </c:pt>
                <c:pt idx="14">
                  <c:v>952</c:v>
                </c:pt>
                <c:pt idx="15">
                  <c:v>7161</c:v>
                </c:pt>
                <c:pt idx="16">
                  <c:v>5534</c:v>
                </c:pt>
                <c:pt idx="17">
                  <c:v>10019</c:v>
                </c:pt>
                <c:pt idx="18">
                  <c:v>30563</c:v>
                </c:pt>
                <c:pt idx="19">
                  <c:v>55472</c:v>
                </c:pt>
                <c:pt idx="20">
                  <c:v>65853</c:v>
                </c:pt>
                <c:pt idx="21">
                  <c:v>136219</c:v>
                </c:pt>
                <c:pt idx="22">
                  <c:v>117429</c:v>
                </c:pt>
                <c:pt idx="23">
                  <c:v>85860</c:v>
                </c:pt>
                <c:pt idx="24">
                  <c:v>131554</c:v>
                </c:pt>
                <c:pt idx="25">
                  <c:v>14169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44BD-4583-96B0-4F01E013D7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20089"/>
          <c:min val="16436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15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rgbClr val="7F7F7F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"/>
        <c:crosses val="min"/>
        <c:crossBetween val="midCat"/>
        <c:majorUnit val="5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9667063020214035E-2"/>
          <c:y val="9.6941719561454129E-2"/>
          <c:w val="0.90487514863258023"/>
          <c:h val="0.80611656087709171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rgbClr val="EE3724"/>
              </a:solidFill>
              <a:prstDash val="solid"/>
            </a:ln>
          </c:spPr>
          <c:marker>
            <c:symbol val="none"/>
          </c:marker>
          <c:dLbls>
            <c:dLbl>
              <c:idx val="1"/>
              <c:layout>
                <c:manualLayout>
                  <c:x val="8.0261593341260408E-3"/>
                  <c:y val="8.366993652625505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EE372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9BF3-4C2B-BB24-2460099A8DE5}"/>
                </c:ext>
              </c:extLst>
            </c:dLbl>
            <c:dLbl>
              <c:idx val="12"/>
              <c:layout>
                <c:manualLayout>
                  <c:x val="0"/>
                  <c:y val="5.885747259088286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EE372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9BF3-4C2B-BB24-2460099A8DE5}"/>
                </c:ext>
              </c:extLst>
            </c:dLbl>
            <c:dLbl>
              <c:idx val="27"/>
              <c:layout>
                <c:manualLayout>
                  <c:x val="1.1890606420927466E-3"/>
                  <c:y val="8.944027697634160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EE372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9BF3-4C2B-BB24-2460099A8DE5}"/>
                </c:ext>
              </c:extLst>
            </c:dLbl>
            <c:dLbl>
              <c:idx val="47"/>
              <c:layout>
                <c:manualLayout>
                  <c:x val="0"/>
                  <c:y val="5.885747259088286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EE372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9BF3-4C2B-BB24-2460099A8DE5}"/>
                </c:ext>
              </c:extLst>
            </c:dLbl>
            <c:dLbl>
              <c:idx val="79"/>
              <c:layout>
                <c:manualLayout>
                  <c:x val="-6.5398335315101069E-3"/>
                  <c:y val="9.29024812463935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EE372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9BF3-4C2B-BB24-2460099A8DE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rgbClr val="EE3724"/>
                    </a:solidFill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B$1</c:f>
              <c:numCache>
                <c:formatCode>General</c:formatCode>
                <c:ptCount val="80"/>
                <c:pt idx="0">
                  <c:v>87.6</c:v>
                </c:pt>
                <c:pt idx="1">
                  <c:v>88.1</c:v>
                </c:pt>
                <c:pt idx="2">
                  <c:v>87.8</c:v>
                </c:pt>
                <c:pt idx="3">
                  <c:v>87.8</c:v>
                </c:pt>
                <c:pt idx="4">
                  <c:v>87.3</c:v>
                </c:pt>
                <c:pt idx="5">
                  <c:v>86.687985419018204</c:v>
                </c:pt>
                <c:pt idx="6">
                  <c:v>87.1</c:v>
                </c:pt>
                <c:pt idx="7">
                  <c:v>87.3</c:v>
                </c:pt>
                <c:pt idx="8">
                  <c:v>86.6</c:v>
                </c:pt>
                <c:pt idx="9">
                  <c:v>86.7</c:v>
                </c:pt>
                <c:pt idx="10">
                  <c:v>87</c:v>
                </c:pt>
                <c:pt idx="11">
                  <c:v>86.7</c:v>
                </c:pt>
                <c:pt idx="12">
                  <c:v>86.5</c:v>
                </c:pt>
                <c:pt idx="13">
                  <c:v>86.9</c:v>
                </c:pt>
                <c:pt idx="14">
                  <c:v>86.3</c:v>
                </c:pt>
                <c:pt idx="15">
                  <c:v>85.810306437772994</c:v>
                </c:pt>
                <c:pt idx="16">
                  <c:v>85</c:v>
                </c:pt>
                <c:pt idx="17">
                  <c:v>84.8</c:v>
                </c:pt>
                <c:pt idx="18">
                  <c:v>84.7</c:v>
                </c:pt>
                <c:pt idx="19">
                  <c:v>84.399999999999991</c:v>
                </c:pt>
                <c:pt idx="20">
                  <c:v>83.7</c:v>
                </c:pt>
                <c:pt idx="21">
                  <c:v>83.5</c:v>
                </c:pt>
                <c:pt idx="22">
                  <c:v>83.157621783318902</c:v>
                </c:pt>
                <c:pt idx="23">
                  <c:v>79.7</c:v>
                </c:pt>
                <c:pt idx="24">
                  <c:v>71.3</c:v>
                </c:pt>
                <c:pt idx="25">
                  <c:v>62.2</c:v>
                </c:pt>
                <c:pt idx="26">
                  <c:v>52</c:v>
                </c:pt>
                <c:pt idx="27">
                  <c:v>46.800000000000004</c:v>
                </c:pt>
                <c:pt idx="28">
                  <c:v>53.6</c:v>
                </c:pt>
                <c:pt idx="29">
                  <c:v>60.6</c:v>
                </c:pt>
                <c:pt idx="30">
                  <c:v>65.400000000000006</c:v>
                </c:pt>
                <c:pt idx="31">
                  <c:v>68.2</c:v>
                </c:pt>
                <c:pt idx="32">
                  <c:v>67.800000000000011</c:v>
                </c:pt>
                <c:pt idx="33">
                  <c:v>66.2</c:v>
                </c:pt>
                <c:pt idx="34">
                  <c:v>64.5</c:v>
                </c:pt>
                <c:pt idx="35">
                  <c:v>64.379005946511896</c:v>
                </c:pt>
                <c:pt idx="36">
                  <c:v>64.600000000000009</c:v>
                </c:pt>
                <c:pt idx="37">
                  <c:v>67.4057026534161</c:v>
                </c:pt>
                <c:pt idx="38">
                  <c:v>68.7</c:v>
                </c:pt>
                <c:pt idx="39">
                  <c:v>68.300000000000011</c:v>
                </c:pt>
                <c:pt idx="40">
                  <c:v>67.600000000000009</c:v>
                </c:pt>
                <c:pt idx="41">
                  <c:v>66.5</c:v>
                </c:pt>
                <c:pt idx="42">
                  <c:v>65.600000000000009</c:v>
                </c:pt>
                <c:pt idx="43">
                  <c:v>65.5</c:v>
                </c:pt>
                <c:pt idx="44">
                  <c:v>63.9</c:v>
                </c:pt>
                <c:pt idx="45">
                  <c:v>62.4</c:v>
                </c:pt>
                <c:pt idx="46">
                  <c:v>62.2</c:v>
                </c:pt>
                <c:pt idx="47">
                  <c:v>62.2</c:v>
                </c:pt>
                <c:pt idx="48">
                  <c:v>61.7</c:v>
                </c:pt>
                <c:pt idx="49">
                  <c:v>63.5</c:v>
                </c:pt>
                <c:pt idx="50">
                  <c:v>62.236296719259897</c:v>
                </c:pt>
                <c:pt idx="51">
                  <c:v>61</c:v>
                </c:pt>
                <c:pt idx="52">
                  <c:v>60.8</c:v>
                </c:pt>
                <c:pt idx="53">
                  <c:v>59.4</c:v>
                </c:pt>
                <c:pt idx="54">
                  <c:v>60.199999999999996</c:v>
                </c:pt>
                <c:pt idx="55">
                  <c:v>60.2</c:v>
                </c:pt>
                <c:pt idx="56">
                  <c:v>58.025895758314604</c:v>
                </c:pt>
                <c:pt idx="57">
                  <c:v>58.333203939488001</c:v>
                </c:pt>
                <c:pt idx="58">
                  <c:v>58.5107852440145</c:v>
                </c:pt>
                <c:pt idx="59">
                  <c:v>58.643662839818802</c:v>
                </c:pt>
                <c:pt idx="60">
                  <c:v>58.313603993444993</c:v>
                </c:pt>
                <c:pt idx="61">
                  <c:v>59.487700252327905</c:v>
                </c:pt>
                <c:pt idx="62">
                  <c:v>59.1890264486183</c:v>
                </c:pt>
                <c:pt idx="63">
                  <c:v>58.599999999999994</c:v>
                </c:pt>
                <c:pt idx="64">
                  <c:v>57.999999999999993</c:v>
                </c:pt>
                <c:pt idx="65">
                  <c:v>58.01</c:v>
                </c:pt>
                <c:pt idx="66">
                  <c:v>58.173953418458602</c:v>
                </c:pt>
                <c:pt idx="67">
                  <c:v>58.2534809626993</c:v>
                </c:pt>
                <c:pt idx="68">
                  <c:v>56.578388542487502</c:v>
                </c:pt>
                <c:pt idx="69">
                  <c:v>56.999999999999993</c:v>
                </c:pt>
                <c:pt idx="70">
                  <c:v>57.558213203373697</c:v>
                </c:pt>
                <c:pt idx="71">
                  <c:v>57.206861011589304</c:v>
                </c:pt>
                <c:pt idx="72">
                  <c:v>58.3</c:v>
                </c:pt>
                <c:pt idx="73">
                  <c:v>59.1014875170506</c:v>
                </c:pt>
                <c:pt idx="74">
                  <c:v>58.884363518632995</c:v>
                </c:pt>
                <c:pt idx="75">
                  <c:v>58.8</c:v>
                </c:pt>
                <c:pt idx="76">
                  <c:v>58.3</c:v>
                </c:pt>
                <c:pt idx="77">
                  <c:v>58.5</c:v>
                </c:pt>
                <c:pt idx="78">
                  <c:v>58.9</c:v>
                </c:pt>
                <c:pt idx="79">
                  <c:v>59.0999999999999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9BF3-4C2B-BB24-2460099A8D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918533663"/>
        <c:axId val="1"/>
      </c:lineChart>
      <c:catAx>
        <c:axId val="91853366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rgbClr val="7F7F7F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18533663"/>
        <c:crosses val="min"/>
        <c:crossBetween val="between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9172821270310195E-2"/>
          <c:y val="0.10065907729179149"/>
          <c:w val="0.90546528803545057"/>
          <c:h val="0.79868184541641707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EE3724"/>
              </a:solidFill>
              <a:prstDash val="solid"/>
            </a:ln>
          </c:spPr>
          <c:marker>
            <c:symbol val="none"/>
          </c:marker>
          <c:dLbls>
            <c:dLbl>
              <c:idx val="35"/>
              <c:layout>
                <c:manualLayout>
                  <c:x val="0"/>
                  <c:y val="-5.751947273816656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EE372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6D08-406C-BABC-30F53B566492}"/>
                </c:ext>
              </c:extLst>
            </c:dLbl>
            <c:dLbl>
              <c:idx val="46"/>
              <c:layout>
                <c:manualLayout>
                  <c:x val="0"/>
                  <c:y val="-5.751947273816656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EE372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D08-406C-BABC-30F53B566492}"/>
                </c:ext>
              </c:extLst>
            </c:dLbl>
            <c:dLbl>
              <c:idx val="70"/>
              <c:layout>
                <c:manualLayout>
                  <c:x val="0"/>
                  <c:y val="-5.751947273816656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EE372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6D08-406C-BABC-30F53B566492}"/>
                </c:ext>
              </c:extLst>
            </c:dLbl>
            <c:dLbl>
              <c:idx val="78"/>
              <c:layout>
                <c:manualLayout>
                  <c:x val="0"/>
                  <c:y val="-5.751947273816656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EE372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6D08-406C-BABC-30F53B56649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rgbClr val="EE3724"/>
                    </a:solidFill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CB$1</c:f>
              <c:numCache>
                <c:formatCode>General</c:formatCode>
                <c:ptCount val="80"/>
                <c:pt idx="0">
                  <c:v>17622</c:v>
                </c:pt>
                <c:pt idx="1">
                  <c:v>17652</c:v>
                </c:pt>
                <c:pt idx="2">
                  <c:v>17683</c:v>
                </c:pt>
                <c:pt idx="3">
                  <c:v>17713</c:v>
                </c:pt>
                <c:pt idx="4">
                  <c:v>17744</c:v>
                </c:pt>
                <c:pt idx="5">
                  <c:v>17775</c:v>
                </c:pt>
                <c:pt idx="6">
                  <c:v>17805</c:v>
                </c:pt>
                <c:pt idx="7">
                  <c:v>17836</c:v>
                </c:pt>
                <c:pt idx="8">
                  <c:v>17866</c:v>
                </c:pt>
                <c:pt idx="9">
                  <c:v>17897</c:v>
                </c:pt>
                <c:pt idx="10">
                  <c:v>17928</c:v>
                </c:pt>
                <c:pt idx="11">
                  <c:v>17956</c:v>
                </c:pt>
                <c:pt idx="12">
                  <c:v>17987</c:v>
                </c:pt>
                <c:pt idx="13">
                  <c:v>18017</c:v>
                </c:pt>
                <c:pt idx="14">
                  <c:v>18048</c:v>
                </c:pt>
                <c:pt idx="15">
                  <c:v>18078</c:v>
                </c:pt>
                <c:pt idx="16">
                  <c:v>18109</c:v>
                </c:pt>
                <c:pt idx="17">
                  <c:v>18140</c:v>
                </c:pt>
                <c:pt idx="18">
                  <c:v>18170</c:v>
                </c:pt>
                <c:pt idx="19">
                  <c:v>18201</c:v>
                </c:pt>
                <c:pt idx="20">
                  <c:v>18231</c:v>
                </c:pt>
                <c:pt idx="21">
                  <c:v>18262</c:v>
                </c:pt>
                <c:pt idx="22">
                  <c:v>18293</c:v>
                </c:pt>
                <c:pt idx="23">
                  <c:v>18322</c:v>
                </c:pt>
                <c:pt idx="24">
                  <c:v>18353</c:v>
                </c:pt>
                <c:pt idx="25">
                  <c:v>18383</c:v>
                </c:pt>
                <c:pt idx="26">
                  <c:v>18414</c:v>
                </c:pt>
                <c:pt idx="27">
                  <c:v>18444</c:v>
                </c:pt>
                <c:pt idx="28">
                  <c:v>18475</c:v>
                </c:pt>
                <c:pt idx="29">
                  <c:v>18506</c:v>
                </c:pt>
                <c:pt idx="30">
                  <c:v>18536</c:v>
                </c:pt>
                <c:pt idx="31">
                  <c:v>18567</c:v>
                </c:pt>
                <c:pt idx="32">
                  <c:v>18597</c:v>
                </c:pt>
                <c:pt idx="33">
                  <c:v>18628</c:v>
                </c:pt>
                <c:pt idx="34">
                  <c:v>18659</c:v>
                </c:pt>
                <c:pt idx="35">
                  <c:v>18687</c:v>
                </c:pt>
                <c:pt idx="36">
                  <c:v>18718</c:v>
                </c:pt>
                <c:pt idx="37">
                  <c:v>18748</c:v>
                </c:pt>
                <c:pt idx="38">
                  <c:v>18779</c:v>
                </c:pt>
                <c:pt idx="39">
                  <c:v>18809</c:v>
                </c:pt>
                <c:pt idx="40">
                  <c:v>18840</c:v>
                </c:pt>
                <c:pt idx="41">
                  <c:v>18871</c:v>
                </c:pt>
                <c:pt idx="42">
                  <c:v>18901</c:v>
                </c:pt>
                <c:pt idx="43">
                  <c:v>18932</c:v>
                </c:pt>
                <c:pt idx="44">
                  <c:v>18962</c:v>
                </c:pt>
                <c:pt idx="45">
                  <c:v>18993</c:v>
                </c:pt>
                <c:pt idx="46">
                  <c:v>19024</c:v>
                </c:pt>
                <c:pt idx="47">
                  <c:v>19052</c:v>
                </c:pt>
                <c:pt idx="48">
                  <c:v>19083</c:v>
                </c:pt>
                <c:pt idx="49">
                  <c:v>19113</c:v>
                </c:pt>
                <c:pt idx="50">
                  <c:v>19144</c:v>
                </c:pt>
                <c:pt idx="51">
                  <c:v>19174</c:v>
                </c:pt>
                <c:pt idx="52">
                  <c:v>19205</c:v>
                </c:pt>
                <c:pt idx="53">
                  <c:v>19236</c:v>
                </c:pt>
                <c:pt idx="54">
                  <c:v>19266</c:v>
                </c:pt>
                <c:pt idx="55">
                  <c:v>19297</c:v>
                </c:pt>
                <c:pt idx="56">
                  <c:v>19327</c:v>
                </c:pt>
                <c:pt idx="57">
                  <c:v>19358</c:v>
                </c:pt>
                <c:pt idx="58">
                  <c:v>19389</c:v>
                </c:pt>
                <c:pt idx="59">
                  <c:v>19417</c:v>
                </c:pt>
                <c:pt idx="60">
                  <c:v>19448</c:v>
                </c:pt>
                <c:pt idx="61">
                  <c:v>19478</c:v>
                </c:pt>
                <c:pt idx="62">
                  <c:v>19509</c:v>
                </c:pt>
                <c:pt idx="63">
                  <c:v>19539</c:v>
                </c:pt>
                <c:pt idx="64">
                  <c:v>19570</c:v>
                </c:pt>
                <c:pt idx="65">
                  <c:v>19601</c:v>
                </c:pt>
                <c:pt idx="66">
                  <c:v>19631</c:v>
                </c:pt>
                <c:pt idx="67">
                  <c:v>19662</c:v>
                </c:pt>
                <c:pt idx="68">
                  <c:v>19692</c:v>
                </c:pt>
                <c:pt idx="69">
                  <c:v>19723</c:v>
                </c:pt>
                <c:pt idx="70">
                  <c:v>19754</c:v>
                </c:pt>
                <c:pt idx="71">
                  <c:v>19783</c:v>
                </c:pt>
                <c:pt idx="72">
                  <c:v>19814</c:v>
                </c:pt>
                <c:pt idx="73">
                  <c:v>19844</c:v>
                </c:pt>
                <c:pt idx="74">
                  <c:v>19875</c:v>
                </c:pt>
                <c:pt idx="75">
                  <c:v>19905</c:v>
                </c:pt>
                <c:pt idx="76">
                  <c:v>19936</c:v>
                </c:pt>
                <c:pt idx="77">
                  <c:v>19967</c:v>
                </c:pt>
                <c:pt idx="78">
                  <c:v>19997</c:v>
                </c:pt>
                <c:pt idx="79">
                  <c:v>20028</c:v>
                </c:pt>
              </c:numCache>
            </c:numRef>
          </c:xVal>
          <c:yVal>
            <c:numRef>
              <c:f>Sheet1!$A$2:$CB$2</c:f>
              <c:numCache>
                <c:formatCode>General</c:formatCode>
                <c:ptCount val="80"/>
                <c:pt idx="0">
                  <c:v>7.1650578043526231E-2</c:v>
                </c:pt>
                <c:pt idx="1">
                  <c:v>7.5795788541486081E-2</c:v>
                </c:pt>
                <c:pt idx="2">
                  <c:v>8.5290536049563603E-2</c:v>
                </c:pt>
                <c:pt idx="3">
                  <c:v>8.3767384936525163E-2</c:v>
                </c:pt>
                <c:pt idx="4">
                  <c:v>8.178545453497342E-2</c:v>
                </c:pt>
                <c:pt idx="5">
                  <c:v>7.6353767781515522E-2</c:v>
                </c:pt>
                <c:pt idx="6">
                  <c:v>6.7242475650579905E-2</c:v>
                </c:pt>
                <c:pt idx="7">
                  <c:v>5.8521258551301546E-2</c:v>
                </c:pt>
                <c:pt idx="8">
                  <c:v>5.3882983118030234E-2</c:v>
                </c:pt>
                <c:pt idx="9">
                  <c:v>5.1981205283341908E-2</c:v>
                </c:pt>
                <c:pt idx="10">
                  <c:v>4.7344303119367E-2</c:v>
                </c:pt>
                <c:pt idx="11">
                  <c:v>2.7259323090063955E-2</c:v>
                </c:pt>
                <c:pt idx="12">
                  <c:v>2.4362599245015382E-2</c:v>
                </c:pt>
                <c:pt idx="13">
                  <c:v>2.3531058831523319E-2</c:v>
                </c:pt>
                <c:pt idx="14">
                  <c:v>2.4776770173956134E-2</c:v>
                </c:pt>
                <c:pt idx="15">
                  <c:v>2.3601691271582285E-2</c:v>
                </c:pt>
                <c:pt idx="16">
                  <c:v>2.8040156407810952E-2</c:v>
                </c:pt>
                <c:pt idx="17">
                  <c:v>2.9545722628378429E-2</c:v>
                </c:pt>
                <c:pt idx="18">
                  <c:v>2.9719747951339706E-2</c:v>
                </c:pt>
                <c:pt idx="19">
                  <c:v>3.1675698847938069E-2</c:v>
                </c:pt>
                <c:pt idx="20">
                  <c:v>3.3228302903501337E-2</c:v>
                </c:pt>
                <c:pt idx="21">
                  <c:v>3.7208194227226793E-2</c:v>
                </c:pt>
                <c:pt idx="22">
                  <c:v>3.6465591221852771E-2</c:v>
                </c:pt>
                <c:pt idx="23">
                  <c:v>7.311194366343482E-2</c:v>
                </c:pt>
                <c:pt idx="24">
                  <c:v>0.28322339077100661</c:v>
                </c:pt>
                <c:pt idx="25">
                  <c:v>0.69466924492778603</c:v>
                </c:pt>
                <c:pt idx="26">
                  <c:v>1.3092744004847572</c:v>
                </c:pt>
                <c:pt idx="27">
                  <c:v>2.0560668217392561</c:v>
                </c:pt>
                <c:pt idx="28">
                  <c:v>2.6308761728057175</c:v>
                </c:pt>
                <c:pt idx="29">
                  <c:v>3.2043333415999138</c:v>
                </c:pt>
                <c:pt idx="30">
                  <c:v>3.7552791649630457</c:v>
                </c:pt>
                <c:pt idx="31">
                  <c:v>4.3080342331000079</c:v>
                </c:pt>
                <c:pt idx="32">
                  <c:v>4.9588251960207312</c:v>
                </c:pt>
                <c:pt idx="33">
                  <c:v>6.6201941134524001</c:v>
                </c:pt>
                <c:pt idx="34">
                  <c:v>8.2557741572144092</c:v>
                </c:pt>
                <c:pt idx="35">
                  <c:v>8.8101178575750101</c:v>
                </c:pt>
                <c:pt idx="36">
                  <c:v>7.5214731805054811</c:v>
                </c:pt>
                <c:pt idx="37">
                  <c:v>6.347823218686532</c:v>
                </c:pt>
                <c:pt idx="38">
                  <c:v>5.5895073353080953</c:v>
                </c:pt>
                <c:pt idx="39">
                  <c:v>5.2268949103480402</c:v>
                </c:pt>
                <c:pt idx="40">
                  <c:v>5.1111517788378604</c:v>
                </c:pt>
                <c:pt idx="41">
                  <c:v>5.1632263609480384</c:v>
                </c:pt>
                <c:pt idx="42">
                  <c:v>5.2326978639768003</c:v>
                </c:pt>
                <c:pt idx="43">
                  <c:v>5.1207341393618444</c:v>
                </c:pt>
                <c:pt idx="44">
                  <c:v>5.1227344632544876</c:v>
                </c:pt>
                <c:pt idx="45">
                  <c:v>5.1036229025421784</c:v>
                </c:pt>
                <c:pt idx="46">
                  <c:v>4.8434120632947035</c:v>
                </c:pt>
                <c:pt idx="47">
                  <c:v>4.8172946107690251</c:v>
                </c:pt>
                <c:pt idx="48">
                  <c:v>4.9844162267475651</c:v>
                </c:pt>
                <c:pt idx="49">
                  <c:v>5.0203563146055439</c:v>
                </c:pt>
                <c:pt idx="50">
                  <c:v>5.2898217907518887</c:v>
                </c:pt>
                <c:pt idx="51">
                  <c:v>5.5228404691962902</c:v>
                </c:pt>
                <c:pt idx="52">
                  <c:v>5.5296707702817089</c:v>
                </c:pt>
                <c:pt idx="53">
                  <c:v>5.6779794873433733</c:v>
                </c:pt>
                <c:pt idx="54">
                  <c:v>5.5183129083199081</c:v>
                </c:pt>
                <c:pt idx="55">
                  <c:v>5.4761944291853117</c:v>
                </c:pt>
                <c:pt idx="56">
                  <c:v>5.4517221743366839</c:v>
                </c:pt>
                <c:pt idx="57">
                  <c:v>5.2574806236584068</c:v>
                </c:pt>
                <c:pt idx="58">
                  <c:v>5.0221384009229144</c:v>
                </c:pt>
                <c:pt idx="59">
                  <c:v>4.9072459885973414</c:v>
                </c:pt>
                <c:pt idx="60">
                  <c:v>5</c:v>
                </c:pt>
                <c:pt idx="61">
                  <c:v>5.2</c:v>
                </c:pt>
                <c:pt idx="62">
                  <c:v>5.0999999999999996</c:v>
                </c:pt>
                <c:pt idx="63">
                  <c:v>5.0999999999999996</c:v>
                </c:pt>
                <c:pt idx="64">
                  <c:v>5.0999999999999996</c:v>
                </c:pt>
                <c:pt idx="65">
                  <c:v>5.0999999999999996</c:v>
                </c:pt>
                <c:pt idx="66">
                  <c:v>4.9000000000000004</c:v>
                </c:pt>
                <c:pt idx="67">
                  <c:v>4.7</c:v>
                </c:pt>
                <c:pt idx="68">
                  <c:v>4.4000000000000004</c:v>
                </c:pt>
                <c:pt idx="69">
                  <c:v>4.2</c:v>
                </c:pt>
                <c:pt idx="70">
                  <c:v>4</c:v>
                </c:pt>
                <c:pt idx="71">
                  <c:v>4.0999999999999996</c:v>
                </c:pt>
                <c:pt idx="72">
                  <c:v>4</c:v>
                </c:pt>
                <c:pt idx="73">
                  <c:v>4</c:v>
                </c:pt>
                <c:pt idx="74">
                  <c:v>4</c:v>
                </c:pt>
                <c:pt idx="75">
                  <c:v>3.8</c:v>
                </c:pt>
                <c:pt idx="76">
                  <c:v>3.7000000000000006</c:v>
                </c:pt>
                <c:pt idx="77">
                  <c:v>3.3000000000000003</c:v>
                </c:pt>
                <c:pt idx="78">
                  <c:v>3.1</c:v>
                </c:pt>
                <c:pt idx="79">
                  <c:v>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6D08-406C-BABC-30F53B5664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20454"/>
          <c:min val="17532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1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rgbClr val="7F7F7F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"/>
        <c:crosses val="min"/>
        <c:crossBetween val="midCat"/>
        <c:majorUnit val="5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4306095979247726E-3"/>
          <c:y val="9.1174021648626147E-2"/>
          <c:w val="0.9831387808041504"/>
          <c:h val="0.8176519567027477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tx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1.6652789342214821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D8C-481B-9266-1D583D49F8F7}"/>
                </c:ext>
              </c:extLst>
            </c:dLbl>
            <c:dLbl>
              <c:idx val="1"/>
              <c:layout>
                <c:manualLayout>
                  <c:x val="0"/>
                  <c:y val="1.2489592006661116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D8C-481B-9266-1D583D49F8F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45.308168578993801</c:v>
                </c:pt>
                <c:pt idx="1">
                  <c:v>4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D8C-481B-9266-1D583D49F8F7}"/>
            </c:ext>
          </c:extLst>
        </c:ser>
        <c:ser>
          <c:idx val="1"/>
          <c:order val="1"/>
          <c:spPr>
            <a:solidFill>
              <a:srgbClr val="B0DEF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1.2489592006661116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D8C-481B-9266-1D583D49F8F7}"/>
                </c:ext>
              </c:extLst>
            </c:dLbl>
            <c:dLbl>
              <c:idx val="1"/>
              <c:layout>
                <c:manualLayout>
                  <c:x val="0"/>
                  <c:y val="1.2489592006661116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AD8C-481B-9266-1D583D49F8F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tx2"/>
                    </a:solidFill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B$2</c:f>
              <c:numCache>
                <c:formatCode>General</c:formatCode>
                <c:ptCount val="2"/>
                <c:pt idx="0">
                  <c:v>7.6002647837599246</c:v>
                </c:pt>
                <c:pt idx="1">
                  <c:v>7.60000000000000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D8C-481B-9266-1D583D49F8F7}"/>
            </c:ext>
          </c:extLst>
        </c:ser>
        <c:ser>
          <c:idx val="2"/>
          <c:order val="2"/>
          <c:spPr>
            <a:solidFill>
              <a:schemeClr val="bg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1.6652789342214821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AD8C-481B-9266-1D583D49F8F7}"/>
                </c:ext>
              </c:extLst>
            </c:dLbl>
            <c:dLbl>
              <c:idx val="1"/>
              <c:layout>
                <c:manualLayout>
                  <c:x val="0"/>
                  <c:y val="1.6652789342214821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AD8C-481B-9266-1D583D49F8F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tx2"/>
                    </a:solidFill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B$3</c:f>
              <c:numCache>
                <c:formatCode>General</c:formatCode>
                <c:ptCount val="2"/>
                <c:pt idx="0">
                  <c:v>17.325432480141224</c:v>
                </c:pt>
                <c:pt idx="1">
                  <c:v>17.899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D8C-481B-9266-1D583D49F8F7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1.6652789342214821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AD8C-481B-9266-1D583D49F8F7}"/>
                </c:ext>
              </c:extLst>
            </c:dLbl>
            <c:dLbl>
              <c:idx val="1"/>
              <c:layout>
                <c:manualLayout>
                  <c:x val="0"/>
                  <c:y val="1.2489592006661116E-3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AD8C-481B-9266-1D583D49F8F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tx2"/>
                    </a:solidFill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B$4</c:f>
              <c:numCache>
                <c:formatCode>General</c:formatCode>
                <c:ptCount val="2"/>
                <c:pt idx="0">
                  <c:v>13.570719329214498</c:v>
                </c:pt>
                <c:pt idx="1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AD8C-481B-9266-1D583D49F8F7}"/>
            </c:ext>
          </c:extLst>
        </c:ser>
        <c:ser>
          <c:idx val="4"/>
          <c:order val="4"/>
          <c:spPr>
            <a:solidFill>
              <a:srgbClr val="FEECBB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-7.668612191958496E-2"/>
                  <c:y val="1.2489592006661116E-3"/>
                </c:manualLayout>
              </c:layout>
              <c:numFmt formatCode="0&quot;%&quot;;&quot;-&quot;0&quot;%&quot;" sourceLinked="0"/>
              <c:spPr>
                <a:solidFill>
                  <a:srgbClr val="FEECBB"/>
                </a:solidFill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AD8C-481B-9266-1D583D49F8F7}"/>
                </c:ext>
              </c:extLst>
            </c:dLbl>
            <c:dLbl>
              <c:idx val="1"/>
              <c:layout>
                <c:manualLayout>
                  <c:x val="-7.668612191958496E-2"/>
                  <c:y val="1.2489592006661116E-3"/>
                </c:manualLayout>
              </c:layout>
              <c:numFmt formatCode="0&quot;%&quot;;&quot;-&quot;0&quot;%&quot;" sourceLinked="0"/>
              <c:spPr>
                <a:solidFill>
                  <a:srgbClr val="FEECBB"/>
                </a:solidFill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AD8C-481B-9266-1D583D49F8F7}"/>
                </c:ext>
              </c:extLst>
            </c:dLbl>
            <c:spPr>
              <a:solidFill>
                <a:srgbClr val="FEECBB"/>
              </a:solidFill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tx2"/>
                    </a:solidFill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:$B$5</c:f>
              <c:numCache>
                <c:formatCode>General</c:formatCode>
                <c:ptCount val="2"/>
                <c:pt idx="0">
                  <c:v>6.8658120035304471</c:v>
                </c:pt>
                <c:pt idx="1">
                  <c:v>7.59999999999999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AD8C-481B-9266-1D583D49F8F7}"/>
            </c:ext>
          </c:extLst>
        </c:ser>
        <c:ser>
          <c:idx val="5"/>
          <c:order val="5"/>
          <c:spPr>
            <a:solidFill>
              <a:schemeClr val="accent6"/>
            </a:solidFill>
            <a:ln>
              <a:noFill/>
            </a:ln>
          </c:spPr>
          <c:invertIfNegative val="0"/>
          <c:val>
            <c:numRef>
              <c:f>Sheet1!$A$6:$B$6</c:f>
              <c:numCache>
                <c:formatCode>General</c:formatCode>
                <c:ptCount val="2"/>
                <c:pt idx="0">
                  <c:v>4.5816902030008873</c:v>
                </c:pt>
                <c:pt idx="1">
                  <c:v>5.10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AD8C-481B-9266-1D583D49F8F7}"/>
            </c:ext>
          </c:extLst>
        </c:ser>
        <c:ser>
          <c:idx val="6"/>
          <c:order val="6"/>
          <c:spPr>
            <a:solidFill>
              <a:srgbClr val="EE3724"/>
            </a:solidFill>
            <a:ln>
              <a:noFill/>
            </a:ln>
          </c:spPr>
          <c:invertIfNegative val="0"/>
          <c:val>
            <c:numRef>
              <c:f>Sheet1!$A$7:$B$7</c:f>
              <c:numCache>
                <c:formatCode>General</c:formatCode>
                <c:ptCount val="2"/>
                <c:pt idx="0">
                  <c:v>4.2129479258605436</c:v>
                </c:pt>
                <c:pt idx="1">
                  <c:v>5.60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AD8C-481B-9266-1D583D49F8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910904080"/>
        <c:axId val="1"/>
      </c:barChart>
      <c:catAx>
        <c:axId val="91090408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91090408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omments/modernComment_1E9_883929D7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2E8CC236-E726-48DF-BB96-93F903CE85C5}" authorId="{DBEC6F38-1250-0DA9-2C9C-F604652C64CC}" status="resolved" created="2025-05-09T08:34:00.410" complete="100000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2285447639" sldId="489"/>
      <ac:spMk id="10" creationId="{0560D6D7-7EC2-4386-84EC-B6F449E03701}"/>
    </ac:deMkLst>
    <p188:txBody>
      <a:bodyPr/>
      <a:lstStyle/>
      <a:p>
        <a:r>
          <a:rPr lang="en-US"/>
          <a:t>provide continued improvements to interoperability as well as application rationalisation over time</a:t>
        </a:r>
      </a:p>
    </p188:txBody>
    <p188:extLst>
      <p:ext xmlns:p="http://schemas.openxmlformats.org/presentationml/2006/main" uri="{57CB4572-C831-44C2-8A1C-0ADB6CCDFE69}">
        <p223:reactions xmlns:p223="http://schemas.microsoft.com/office/powerpoint/2022/03/main">
          <p223:rxn type="👍">
            <p223:instance time="2025-05-12T08:37:03.008" authorId="{E802CAA8-ABCF-7A89-9E9A-11250B7A14CC}"/>
          </p223:rxn>
        </p223:reactions>
      </p:ext>
    </p188:extLst>
  </p188:cm>
</p188:cmLst>
</file>

<file path=ppt/comments/modernComment_1EB_93C5A2A5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50C470AC-572E-4E66-9C58-EDF8EA69E04C}" authorId="{DBEC6F38-1250-0DA9-2C9C-F604652C64CC}" status="resolved" created="2025-05-09T08:24:27.146" complete="100000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2479202981" sldId="491"/>
      <ac:spMk id="64" creationId="{C16C27D3-BAD0-4443-967E-5D1C259E0DF8}"/>
    </ac:deMkLst>
    <p188:txBody>
      <a:bodyPr/>
      <a:lstStyle/>
      <a:p>
        <a:r>
          <a:rPr lang="en-US"/>
          <a:t>Im thinking we can condense this to say all MEDITECH products </a:t>
        </a:r>
      </a:p>
    </p188:txBody>
    <p188:extLst>
      <p:ext xmlns:p="http://schemas.openxmlformats.org/presentationml/2006/main" uri="{57CB4572-C831-44C2-8A1C-0ADB6CCDFE69}">
        <p223:reactions xmlns:p223="http://schemas.microsoft.com/office/powerpoint/2022/03/main">
          <p223:rxn type="👍">
            <p223:instance time="2025-05-12T08:31:47.110" authorId="{E802CAA8-ABCF-7A89-9E9A-11250B7A14CC}"/>
          </p223:rxn>
        </p223:reactions>
      </p:ext>
    </p188:extLst>
  </p188:cm>
  <p188:cm id="{1B1AA77B-6965-494B-9E95-14C16668C060}" authorId="{DBEC6F38-1250-0DA9-2C9C-F604652C64CC}" status="resolved" created="2025-05-09T08:26:08.211" complete="100000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2479202981" sldId="491"/>
      <ac:spMk id="64" creationId="{C16C27D3-BAD0-4443-967E-5D1C259E0DF8}"/>
    </ac:deMkLst>
    <p188:txBody>
      <a:bodyPr/>
      <a:lstStyle/>
      <a:p>
        <a:r>
          <a:rPr lang="en-US"/>
          <a:t>We also need to fit in that we are also MEDITECH's biggest customer in HCA Worldwide. Not sure if thats here on on the first bullet point</a:t>
        </a:r>
      </a:p>
    </p188:txBody>
    <p188:extLst>
      <p:ext xmlns:p="http://schemas.openxmlformats.org/presentationml/2006/main" uri="{57CB4572-C831-44C2-8A1C-0ADB6CCDFE69}">
        <p223:reactions xmlns:p223="http://schemas.microsoft.com/office/powerpoint/2022/03/main">
          <p223:rxn type="👍">
            <p223:instance time="2025-05-12T10:04:11.091" authorId="{E802CAA8-ABCF-7A89-9E9A-11250B7A14CC}"/>
          </p223:rxn>
        </p223:reactions>
      </p:ext>
    </p188:extLst>
  </p188:cm>
</p188:cmLst>
</file>

<file path=ppt/comments/modernComment_1F4_54B0A221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CEF598DF-C254-4F64-B23E-00D52A36694C}" authorId="{DBEC6F38-1250-0DA9-2C9C-F604652C64CC}" status="resolved" created="2025-05-09T08:35:16.208" complete="100000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3141858716" sldId="484"/>
      <ac:spMk id="8" creationId="{BE754FA7-2F63-BCB2-19FF-38A3391EEA13}"/>
    </ac:deMkLst>
    <p188:txBody>
      <a:bodyPr/>
      <a:lstStyle/>
      <a:p>
        <a:r>
          <a:rPr lang="en-US"/>
          <a:t>Add continued improvements. We need to make sure the context doesn't feel transactional and this post go live work is forever with no end date</a:t>
        </a:r>
      </a:p>
    </p188:txBody>
    <p188:extLst>
      <p:ext xmlns:p="http://schemas.openxmlformats.org/presentationml/2006/main" uri="{57CB4572-C831-44C2-8A1C-0ADB6CCDFE69}">
        <p223:reactions xmlns:p223="http://schemas.microsoft.com/office/powerpoint/2022/03/main">
          <p223:rxn type="👍">
            <p223:instance time="2025-05-12T08:38:13.494" authorId="{E802CAA8-ABCF-7A89-9E9A-11250B7A14CC}"/>
          </p223:rxn>
        </p223:reactions>
      </p:ext>
    </p188:extLst>
  </p188:cm>
</p188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A7114A-502F-4D9F-B95C-15EB9B05B631}" type="datetimeFigureOut">
              <a:rPr lang="en-US" smtClean="0"/>
              <a:t>9/30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046546B-7DEA-4680-AC97-41D7B56B02C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64868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D07451-8994-48EB-9472-FB9DA13F3435}" type="datetimeFigureOut">
              <a:rPr lang="en-GB" smtClean="0"/>
              <a:t>30/09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36BD771-A17E-43B9-99D4-373C2E3296A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67424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6BD771-A17E-43B9-99D4-373C2E3296AD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53303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949D10-3CFC-456C-B582-26A1C1CB1DA3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67202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6BD771-A17E-43B9-99D4-373C2E3296AD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32380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6BD771-A17E-43B9-99D4-373C2E3296AD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29625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i="1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6BD771-A17E-43B9-99D4-373C2E3296AD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711493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6BD771-A17E-43B9-99D4-373C2E3296AD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490793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6BD771-A17E-43B9-99D4-373C2E3296AD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088970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26C4F9-013F-D3FA-E861-A1DC36C23C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960B814-EC9C-E690-4DCB-3591040A0A4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A80D92D-33C7-8AE4-924C-0C60674DA94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58D243-4191-BA00-0B92-387BE365268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6BD771-A17E-43B9-99D4-373C2E3296AD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126646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6BD771-A17E-43B9-99D4-373C2E3296AD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43591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hyperlink" Target="https://cerecoreinternational.net/" TargetMode="External"/><Relationship Id="rId3" Type="http://schemas.openxmlformats.org/officeDocument/2006/relationships/image" Target="../media/image20.png"/><Relationship Id="rId7" Type="http://schemas.openxmlformats.org/officeDocument/2006/relationships/hyperlink" Target="mailto:info@cerecoreintl.net" TargetMode="External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Relationship Id="rId9" Type="http://schemas.openxmlformats.org/officeDocument/2006/relationships/image" Target="../media/image24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5.png"/><Relationship Id="rId4" Type="http://schemas.openxmlformats.org/officeDocument/2006/relationships/image" Target="../media/image21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94" r="20870"/>
          <a:stretch/>
        </p:blipFill>
        <p:spPr>
          <a:xfrm rot="16200000" flipV="1">
            <a:off x="51515" y="-51515"/>
            <a:ext cx="6851561" cy="6954592"/>
          </a:xfrm>
          <a:prstGeom prst="rect">
            <a:avLst/>
          </a:prstGeom>
        </p:spPr>
      </p:pic>
      <p:sp>
        <p:nvSpPr>
          <p:cNvPr id="5" name="Round Single Corner Rectangle 4"/>
          <p:cNvSpPr/>
          <p:nvPr userDrawn="1"/>
        </p:nvSpPr>
        <p:spPr>
          <a:xfrm rot="10800000">
            <a:off x="6424670" y="-1"/>
            <a:ext cx="5767330" cy="6346771"/>
          </a:xfrm>
          <a:prstGeom prst="round1Rect">
            <a:avLst/>
          </a:prstGeom>
          <a:gradFill>
            <a:gsLst>
              <a:gs pos="4000">
                <a:srgbClr val="141D35"/>
              </a:gs>
              <a:gs pos="33000">
                <a:schemeClr val="tx1"/>
              </a:gs>
              <a:gs pos="83000">
                <a:schemeClr val="tx1"/>
              </a:gs>
              <a:gs pos="100000">
                <a:schemeClr val="tx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96154" y="4258574"/>
            <a:ext cx="5632361" cy="908431"/>
          </a:xfrm>
        </p:spPr>
        <p:txBody>
          <a:bodyPr anchor="b">
            <a:noAutofit/>
          </a:bodyPr>
          <a:lstStyle>
            <a:lvl1pPr algn="l">
              <a:defRPr sz="7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6154" y="5458800"/>
            <a:ext cx="5632362" cy="403292"/>
          </a:xfrm>
        </p:spPr>
        <p:txBody>
          <a:bodyPr>
            <a:normAutofit/>
          </a:bodyPr>
          <a:lstStyle>
            <a:lvl1pPr marL="0" indent="0" algn="l">
              <a:buNone/>
              <a:defRPr sz="2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, Subject, Sub header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6154" y="5897896"/>
            <a:ext cx="5632361" cy="322263"/>
          </a:xfr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9" name="object 3"/>
          <p:cNvSpPr/>
          <p:nvPr userDrawn="1"/>
        </p:nvSpPr>
        <p:spPr>
          <a:xfrm flipV="1">
            <a:off x="522764" y="5073705"/>
            <a:ext cx="572770" cy="112477"/>
          </a:xfrm>
          <a:custGeom>
            <a:avLst/>
            <a:gdLst/>
            <a:ahLst/>
            <a:cxnLst/>
            <a:rect l="l" t="t" r="r" b="b"/>
            <a:pathLst>
              <a:path w="572770">
                <a:moveTo>
                  <a:pt x="0" y="0"/>
                </a:moveTo>
                <a:lnTo>
                  <a:pt x="572770" y="0"/>
                </a:lnTo>
              </a:path>
            </a:pathLst>
          </a:custGeom>
          <a:ln w="44450" cap="rnd">
            <a:solidFill>
              <a:srgbClr val="FDD566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-128"/>
              <a:cs typeface="+mn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9365E0D-D969-4245-96E7-8F12C35D7A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4946" y="2348681"/>
            <a:ext cx="4692253" cy="2089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26039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3FF9307-27EF-44E6-9120-FB213B3380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854" b="44669"/>
          <a:stretch/>
        </p:blipFill>
        <p:spPr>
          <a:xfrm>
            <a:off x="9197606" y="6427174"/>
            <a:ext cx="2261666" cy="3048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600790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8" name="TextBox 7"/>
          <p:cNvSpPr txBox="1"/>
          <p:nvPr userDrawn="1"/>
        </p:nvSpPr>
        <p:spPr bwMode="auto">
          <a:xfrm>
            <a:off x="721217" y="6311900"/>
            <a:ext cx="9540383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1C243F"/>
                </a:solidFill>
                <a:effectLst/>
                <a:uLnTx/>
                <a:uFillTx/>
                <a:latin typeface="Arial" panose="020B0604020202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</a:b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1C243F"/>
                </a:solidFill>
                <a:effectLst/>
                <a:uLnTx/>
                <a:uFillTx/>
                <a:latin typeface="Arial" panose="020B0604020202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© CereCore® | CONFIDENTIAL – Contains proprietary information. Not intended for distribution.  </a:t>
            </a:r>
          </a:p>
        </p:txBody>
      </p:sp>
      <p:sp>
        <p:nvSpPr>
          <p:cNvPr id="13" name="Rounded Rectangle 12"/>
          <p:cNvSpPr/>
          <p:nvPr userDrawn="1"/>
        </p:nvSpPr>
        <p:spPr>
          <a:xfrm>
            <a:off x="804334" y="5074276"/>
            <a:ext cx="4880964" cy="761107"/>
          </a:xfrm>
          <a:prstGeom prst="roundRect">
            <a:avLst/>
          </a:prstGeom>
          <a:gradFill flip="none" rotWithShape="1">
            <a:gsLst>
              <a:gs pos="0">
                <a:srgbClr val="FFFFFF"/>
              </a:gs>
              <a:gs pos="11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266700" dist="50800" dir="8100000" sx="94000" sy="94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5" name="Rounded Rectangle 14"/>
          <p:cNvSpPr/>
          <p:nvPr userDrawn="1"/>
        </p:nvSpPr>
        <p:spPr>
          <a:xfrm>
            <a:off x="804334" y="3850784"/>
            <a:ext cx="4880964" cy="761107"/>
          </a:xfrm>
          <a:prstGeom prst="roundRect">
            <a:avLst/>
          </a:prstGeom>
          <a:gradFill flip="none" rotWithShape="1">
            <a:gsLst>
              <a:gs pos="0">
                <a:srgbClr val="FFFFFF"/>
              </a:gs>
              <a:gs pos="11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266700" dist="50800" dir="8100000" sx="94000" sy="94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7" name="Rounded Rectangle 16"/>
          <p:cNvSpPr/>
          <p:nvPr userDrawn="1"/>
        </p:nvSpPr>
        <p:spPr>
          <a:xfrm>
            <a:off x="804334" y="2627292"/>
            <a:ext cx="4880964" cy="761107"/>
          </a:xfrm>
          <a:prstGeom prst="roundRect">
            <a:avLst/>
          </a:prstGeom>
          <a:gradFill flip="none" rotWithShape="1">
            <a:gsLst>
              <a:gs pos="0">
                <a:srgbClr val="FFFFFF"/>
              </a:gs>
              <a:gs pos="11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266700" dist="50800" dir="8100000" sx="94000" sy="94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9" name="Rounded Rectangle 18"/>
          <p:cNvSpPr/>
          <p:nvPr userDrawn="1"/>
        </p:nvSpPr>
        <p:spPr>
          <a:xfrm>
            <a:off x="804334" y="1403800"/>
            <a:ext cx="4880964" cy="761107"/>
          </a:xfrm>
          <a:prstGeom prst="roundRect">
            <a:avLst/>
          </a:prstGeom>
          <a:gradFill flip="none" rotWithShape="1">
            <a:gsLst>
              <a:gs pos="0">
                <a:srgbClr val="FFFFFF"/>
              </a:gs>
              <a:gs pos="11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266700" dist="50800" dir="8100000" sx="94000" sy="94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ounded Rectangle 20"/>
          <p:cNvSpPr/>
          <p:nvPr userDrawn="1"/>
        </p:nvSpPr>
        <p:spPr>
          <a:xfrm>
            <a:off x="6438970" y="5074276"/>
            <a:ext cx="4880964" cy="761107"/>
          </a:xfrm>
          <a:prstGeom prst="roundRect">
            <a:avLst/>
          </a:prstGeom>
          <a:gradFill flip="none" rotWithShape="1">
            <a:gsLst>
              <a:gs pos="0">
                <a:srgbClr val="FFFFFF"/>
              </a:gs>
              <a:gs pos="11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266700" dist="50800" dir="8100000" sx="94000" sy="94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3" name="Rounded Rectangle 22"/>
          <p:cNvSpPr/>
          <p:nvPr userDrawn="1"/>
        </p:nvSpPr>
        <p:spPr>
          <a:xfrm>
            <a:off x="6438970" y="3850784"/>
            <a:ext cx="4880964" cy="761107"/>
          </a:xfrm>
          <a:prstGeom prst="roundRect">
            <a:avLst/>
          </a:prstGeom>
          <a:gradFill flip="none" rotWithShape="1">
            <a:gsLst>
              <a:gs pos="0">
                <a:srgbClr val="FFFFFF"/>
              </a:gs>
              <a:gs pos="11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266700" dist="50800" dir="8100000" sx="94000" sy="94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5" name="Rounded Rectangle 24"/>
          <p:cNvSpPr/>
          <p:nvPr userDrawn="1"/>
        </p:nvSpPr>
        <p:spPr>
          <a:xfrm>
            <a:off x="6438970" y="2627292"/>
            <a:ext cx="4880964" cy="761107"/>
          </a:xfrm>
          <a:prstGeom prst="roundRect">
            <a:avLst/>
          </a:prstGeom>
          <a:gradFill flip="none" rotWithShape="1">
            <a:gsLst>
              <a:gs pos="0">
                <a:srgbClr val="FFFFFF"/>
              </a:gs>
              <a:gs pos="11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266700" dist="50800" dir="8100000" sx="94000" sy="94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7" name="Rounded Rectangle 26"/>
          <p:cNvSpPr/>
          <p:nvPr userDrawn="1"/>
        </p:nvSpPr>
        <p:spPr>
          <a:xfrm>
            <a:off x="6438970" y="1403800"/>
            <a:ext cx="4880964" cy="761107"/>
          </a:xfrm>
          <a:prstGeom prst="roundRect">
            <a:avLst/>
          </a:prstGeom>
          <a:gradFill flip="none" rotWithShape="1">
            <a:gsLst>
              <a:gs pos="0">
                <a:srgbClr val="FFFFFF"/>
              </a:gs>
              <a:gs pos="11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266700" dist="50800" dir="8100000" sx="94000" sy="94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32" name="TextBox 31"/>
          <p:cNvSpPr txBox="1"/>
          <p:nvPr userDrawn="1"/>
        </p:nvSpPr>
        <p:spPr>
          <a:xfrm>
            <a:off x="838200" y="1461187"/>
            <a:ext cx="4037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33" name="TextBox 32"/>
          <p:cNvSpPr txBox="1"/>
          <p:nvPr userDrawn="1"/>
        </p:nvSpPr>
        <p:spPr>
          <a:xfrm>
            <a:off x="849390" y="2677614"/>
            <a:ext cx="4037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34" name="TextBox 33"/>
          <p:cNvSpPr txBox="1"/>
          <p:nvPr userDrawn="1"/>
        </p:nvSpPr>
        <p:spPr>
          <a:xfrm>
            <a:off x="838200" y="3903065"/>
            <a:ext cx="4037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>
                <a:solidFill>
                  <a:schemeClr val="tx2"/>
                </a:solidFill>
              </a:rPr>
              <a:t>3</a:t>
            </a:r>
          </a:p>
        </p:txBody>
      </p:sp>
      <p:sp>
        <p:nvSpPr>
          <p:cNvPr id="35" name="TextBox 34"/>
          <p:cNvSpPr txBox="1"/>
          <p:nvPr userDrawn="1"/>
        </p:nvSpPr>
        <p:spPr>
          <a:xfrm>
            <a:off x="838200" y="5131663"/>
            <a:ext cx="4037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>
                <a:solidFill>
                  <a:schemeClr val="tx2"/>
                </a:solidFill>
              </a:rPr>
              <a:t>4</a:t>
            </a:r>
          </a:p>
        </p:txBody>
      </p:sp>
      <p:sp>
        <p:nvSpPr>
          <p:cNvPr id="36" name="TextBox 35"/>
          <p:cNvSpPr txBox="1"/>
          <p:nvPr userDrawn="1"/>
        </p:nvSpPr>
        <p:spPr>
          <a:xfrm>
            <a:off x="6528516" y="1461187"/>
            <a:ext cx="4037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6539706" y="2677614"/>
            <a:ext cx="4037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6528516" y="3903065"/>
            <a:ext cx="4037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>
                <a:solidFill>
                  <a:schemeClr val="tx2"/>
                </a:solidFill>
              </a:rPr>
              <a:t>7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6528516" y="5131663"/>
            <a:ext cx="4037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>
                <a:solidFill>
                  <a:schemeClr val="tx2"/>
                </a:solidFill>
              </a:rPr>
              <a:t>8</a:t>
            </a:r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0" hasCustomPrompt="1"/>
          </p:nvPr>
        </p:nvSpPr>
        <p:spPr>
          <a:xfrm>
            <a:off x="1253136" y="1658170"/>
            <a:ext cx="4259262" cy="385763"/>
          </a:xfrm>
        </p:spPr>
        <p:txBody>
          <a:bodyPr>
            <a:noAutofit/>
          </a:bodyPr>
          <a:lstStyle>
            <a:lvl1pPr marL="0" indent="0">
              <a:buNone/>
              <a:defRPr sz="2100">
                <a:solidFill>
                  <a:schemeClr val="accent5"/>
                </a:solidFill>
                <a:latin typeface="+mn-lt"/>
                <a:cs typeface="Arial" panose="020B0604020202020204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>
                <a:latin typeface="+mn-lt"/>
                <a:cs typeface="Arial" panose="020B0604020202020204" pitchFamily="34" charset="0"/>
              </a:rPr>
              <a:t>Text</a:t>
            </a:r>
            <a:endParaRPr lang="en-US"/>
          </a:p>
        </p:txBody>
      </p:sp>
      <p:sp>
        <p:nvSpPr>
          <p:cNvPr id="42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1253136" y="2890412"/>
            <a:ext cx="4259262" cy="385763"/>
          </a:xfrm>
        </p:spPr>
        <p:txBody>
          <a:bodyPr>
            <a:noAutofit/>
          </a:bodyPr>
          <a:lstStyle>
            <a:lvl1pPr marL="0" indent="0">
              <a:buNone/>
              <a:defRPr sz="2100">
                <a:solidFill>
                  <a:schemeClr val="accent5"/>
                </a:solidFill>
                <a:latin typeface="+mn-lt"/>
                <a:cs typeface="Arial" panose="020B0604020202020204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>
                <a:latin typeface="+mn-lt"/>
                <a:cs typeface="Arial" panose="020B0604020202020204" pitchFamily="34" charset="0"/>
              </a:rPr>
              <a:t>Text</a:t>
            </a:r>
            <a:endParaRPr lang="en-US"/>
          </a:p>
        </p:txBody>
      </p:sp>
      <p:sp>
        <p:nvSpPr>
          <p:cNvPr id="43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1253136" y="4113904"/>
            <a:ext cx="4259262" cy="385763"/>
          </a:xfrm>
        </p:spPr>
        <p:txBody>
          <a:bodyPr>
            <a:noAutofit/>
          </a:bodyPr>
          <a:lstStyle>
            <a:lvl1pPr marL="0" indent="0">
              <a:buNone/>
              <a:defRPr sz="2100">
                <a:solidFill>
                  <a:schemeClr val="accent5"/>
                </a:solidFill>
                <a:latin typeface="+mn-lt"/>
                <a:cs typeface="Arial" panose="020B0604020202020204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>
                <a:latin typeface="+mn-lt"/>
                <a:cs typeface="Arial" panose="020B0604020202020204" pitchFamily="34" charset="0"/>
              </a:rPr>
              <a:t>Text</a:t>
            </a:r>
            <a:endParaRPr lang="en-US"/>
          </a:p>
        </p:txBody>
      </p:sp>
      <p:sp>
        <p:nvSpPr>
          <p:cNvPr id="44" name="Text Placeholder 40"/>
          <p:cNvSpPr>
            <a:spLocks noGrp="1"/>
          </p:cNvSpPr>
          <p:nvPr>
            <p:ph type="body" sz="quarter" idx="13" hasCustomPrompt="1"/>
          </p:nvPr>
        </p:nvSpPr>
        <p:spPr>
          <a:xfrm>
            <a:off x="1253136" y="5340715"/>
            <a:ext cx="4259262" cy="385763"/>
          </a:xfrm>
        </p:spPr>
        <p:txBody>
          <a:bodyPr>
            <a:noAutofit/>
          </a:bodyPr>
          <a:lstStyle>
            <a:lvl1pPr marL="0" indent="0">
              <a:buNone/>
              <a:defRPr sz="2100">
                <a:solidFill>
                  <a:schemeClr val="accent5"/>
                </a:solidFill>
                <a:latin typeface="+mn-lt"/>
                <a:cs typeface="Arial" panose="020B0604020202020204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>
                <a:latin typeface="+mn-lt"/>
                <a:cs typeface="Arial" panose="020B0604020202020204" pitchFamily="34" charset="0"/>
              </a:rPr>
              <a:t>Text</a:t>
            </a:r>
            <a:endParaRPr lang="en-US"/>
          </a:p>
        </p:txBody>
      </p:sp>
      <p:sp>
        <p:nvSpPr>
          <p:cNvPr id="46" name="Text Placeholder 40"/>
          <p:cNvSpPr>
            <a:spLocks noGrp="1"/>
          </p:cNvSpPr>
          <p:nvPr>
            <p:ph type="body" sz="quarter" idx="14" hasCustomPrompt="1"/>
          </p:nvPr>
        </p:nvSpPr>
        <p:spPr>
          <a:xfrm>
            <a:off x="6943452" y="1670753"/>
            <a:ext cx="4259262" cy="385763"/>
          </a:xfrm>
        </p:spPr>
        <p:txBody>
          <a:bodyPr>
            <a:noAutofit/>
          </a:bodyPr>
          <a:lstStyle>
            <a:lvl1pPr marL="0" indent="0">
              <a:buNone/>
              <a:defRPr sz="2100">
                <a:solidFill>
                  <a:schemeClr val="accent5"/>
                </a:solidFill>
                <a:latin typeface="+mn-lt"/>
                <a:cs typeface="Arial" panose="020B0604020202020204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>
                <a:latin typeface="+mn-lt"/>
                <a:cs typeface="Arial" panose="020B0604020202020204" pitchFamily="34" charset="0"/>
              </a:rPr>
              <a:t>Text</a:t>
            </a:r>
            <a:endParaRPr lang="en-US"/>
          </a:p>
        </p:txBody>
      </p:sp>
      <p:sp>
        <p:nvSpPr>
          <p:cNvPr id="47" name="Text Placeholder 40"/>
          <p:cNvSpPr>
            <a:spLocks noGrp="1"/>
          </p:cNvSpPr>
          <p:nvPr>
            <p:ph type="body" sz="quarter" idx="15" hasCustomPrompt="1"/>
          </p:nvPr>
        </p:nvSpPr>
        <p:spPr>
          <a:xfrm>
            <a:off x="6943452" y="2872621"/>
            <a:ext cx="4259262" cy="385763"/>
          </a:xfrm>
        </p:spPr>
        <p:txBody>
          <a:bodyPr>
            <a:noAutofit/>
          </a:bodyPr>
          <a:lstStyle>
            <a:lvl1pPr marL="0" indent="0">
              <a:buNone/>
              <a:defRPr sz="2100">
                <a:solidFill>
                  <a:schemeClr val="accent5"/>
                </a:solidFill>
                <a:latin typeface="+mn-lt"/>
                <a:cs typeface="Arial" panose="020B0604020202020204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>
                <a:latin typeface="+mn-lt"/>
                <a:cs typeface="Arial" panose="020B0604020202020204" pitchFamily="34" charset="0"/>
              </a:rPr>
              <a:t>Text</a:t>
            </a:r>
            <a:endParaRPr lang="en-US"/>
          </a:p>
        </p:txBody>
      </p:sp>
      <p:sp>
        <p:nvSpPr>
          <p:cNvPr id="48" name="Text Placeholder 40"/>
          <p:cNvSpPr>
            <a:spLocks noGrp="1"/>
          </p:cNvSpPr>
          <p:nvPr>
            <p:ph type="body" sz="quarter" idx="16" hasCustomPrompt="1"/>
          </p:nvPr>
        </p:nvSpPr>
        <p:spPr>
          <a:xfrm>
            <a:off x="6943452" y="4110967"/>
            <a:ext cx="4259262" cy="385763"/>
          </a:xfrm>
        </p:spPr>
        <p:txBody>
          <a:bodyPr>
            <a:noAutofit/>
          </a:bodyPr>
          <a:lstStyle>
            <a:lvl1pPr marL="0" indent="0">
              <a:buNone/>
              <a:defRPr sz="2100">
                <a:solidFill>
                  <a:schemeClr val="accent5"/>
                </a:solidFill>
                <a:latin typeface="+mn-lt"/>
                <a:cs typeface="Arial" panose="020B0604020202020204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>
                <a:latin typeface="+mn-lt"/>
                <a:cs typeface="Arial" panose="020B0604020202020204" pitchFamily="34" charset="0"/>
              </a:rPr>
              <a:t>Text</a:t>
            </a:r>
            <a:endParaRPr lang="en-US"/>
          </a:p>
        </p:txBody>
      </p:sp>
      <p:sp>
        <p:nvSpPr>
          <p:cNvPr id="49" name="Text Placeholder 40"/>
          <p:cNvSpPr>
            <a:spLocks noGrp="1"/>
          </p:cNvSpPr>
          <p:nvPr>
            <p:ph type="body" sz="quarter" idx="17" hasCustomPrompt="1"/>
          </p:nvPr>
        </p:nvSpPr>
        <p:spPr>
          <a:xfrm>
            <a:off x="6932262" y="5339333"/>
            <a:ext cx="4259262" cy="385763"/>
          </a:xfrm>
        </p:spPr>
        <p:txBody>
          <a:bodyPr>
            <a:noAutofit/>
          </a:bodyPr>
          <a:lstStyle>
            <a:lvl1pPr marL="0" indent="0">
              <a:buNone/>
              <a:defRPr sz="2100">
                <a:solidFill>
                  <a:schemeClr val="accent5"/>
                </a:solidFill>
                <a:latin typeface="+mn-lt"/>
                <a:cs typeface="Arial" panose="020B0604020202020204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>
                <a:latin typeface="+mn-lt"/>
                <a:cs typeface="Arial" panose="020B0604020202020204" pitchFamily="34" charset="0"/>
              </a:rPr>
              <a:t>Tex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04470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Hexagon 30">
            <a:extLst>
              <a:ext uri="{FF2B5EF4-FFF2-40B4-BE49-F238E27FC236}">
                <a16:creationId xmlns:a16="http://schemas.microsoft.com/office/drawing/2014/main" id="{B7E17CF3-7317-4248-896E-7C013BAAEE51}"/>
              </a:ext>
            </a:extLst>
          </p:cNvPr>
          <p:cNvSpPr/>
          <p:nvPr userDrawn="1"/>
        </p:nvSpPr>
        <p:spPr>
          <a:xfrm>
            <a:off x="10935999" y="4684237"/>
            <a:ext cx="893098" cy="769912"/>
          </a:xfrm>
          <a:prstGeom prst="hexagon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Hexagon 50">
            <a:extLst>
              <a:ext uri="{FF2B5EF4-FFF2-40B4-BE49-F238E27FC236}">
                <a16:creationId xmlns:a16="http://schemas.microsoft.com/office/drawing/2014/main" id="{FC894B2C-0D85-4903-B4FA-EC23122BE39D}"/>
              </a:ext>
            </a:extLst>
          </p:cNvPr>
          <p:cNvSpPr/>
          <p:nvPr userDrawn="1"/>
        </p:nvSpPr>
        <p:spPr>
          <a:xfrm>
            <a:off x="8291759" y="4730605"/>
            <a:ext cx="1722638" cy="1447089"/>
          </a:xfrm>
          <a:prstGeom prst="hexagon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Hexagon 44">
            <a:extLst>
              <a:ext uri="{FF2B5EF4-FFF2-40B4-BE49-F238E27FC236}">
                <a16:creationId xmlns:a16="http://schemas.microsoft.com/office/drawing/2014/main" id="{E753AF95-34D3-4BF9-80B9-9C5AD5EA2E01}"/>
              </a:ext>
            </a:extLst>
          </p:cNvPr>
          <p:cNvSpPr/>
          <p:nvPr userDrawn="1"/>
        </p:nvSpPr>
        <p:spPr>
          <a:xfrm>
            <a:off x="9534692" y="5069193"/>
            <a:ext cx="893098" cy="769912"/>
          </a:xfrm>
          <a:prstGeom prst="hexagon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Hexagon 49">
            <a:extLst>
              <a:ext uri="{FF2B5EF4-FFF2-40B4-BE49-F238E27FC236}">
                <a16:creationId xmlns:a16="http://schemas.microsoft.com/office/drawing/2014/main" id="{DF4B53A8-E86B-45F1-B39C-16E3C6FB2971}"/>
              </a:ext>
            </a:extLst>
          </p:cNvPr>
          <p:cNvSpPr/>
          <p:nvPr userDrawn="1"/>
        </p:nvSpPr>
        <p:spPr>
          <a:xfrm>
            <a:off x="9555151" y="3060411"/>
            <a:ext cx="1722638" cy="1447089"/>
          </a:xfrm>
          <a:prstGeom prst="hexagon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Hexagon 29">
            <a:extLst>
              <a:ext uri="{FF2B5EF4-FFF2-40B4-BE49-F238E27FC236}">
                <a16:creationId xmlns:a16="http://schemas.microsoft.com/office/drawing/2014/main" id="{0DE8989C-B40D-4A31-868E-0D78635765D3}"/>
              </a:ext>
            </a:extLst>
          </p:cNvPr>
          <p:cNvSpPr/>
          <p:nvPr userDrawn="1"/>
        </p:nvSpPr>
        <p:spPr>
          <a:xfrm>
            <a:off x="10755144" y="2906296"/>
            <a:ext cx="1254809" cy="1054093"/>
          </a:xfrm>
          <a:prstGeom prst="hexagon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Hexagon 39">
            <a:extLst>
              <a:ext uri="{FF2B5EF4-FFF2-40B4-BE49-F238E27FC236}">
                <a16:creationId xmlns:a16="http://schemas.microsoft.com/office/drawing/2014/main" id="{F13E5840-F715-40CF-9681-BD3B6208E85A}"/>
              </a:ext>
            </a:extLst>
          </p:cNvPr>
          <p:cNvSpPr/>
          <p:nvPr userDrawn="1"/>
        </p:nvSpPr>
        <p:spPr>
          <a:xfrm>
            <a:off x="9108770" y="2277720"/>
            <a:ext cx="1254809" cy="1054093"/>
          </a:xfrm>
          <a:prstGeom prst="hexagon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Hexagon 28">
            <a:extLst>
              <a:ext uri="{FF2B5EF4-FFF2-40B4-BE49-F238E27FC236}">
                <a16:creationId xmlns:a16="http://schemas.microsoft.com/office/drawing/2014/main" id="{85B9F22B-0292-44E1-A413-A70A9AC04ECA}"/>
              </a:ext>
            </a:extLst>
          </p:cNvPr>
          <p:cNvSpPr/>
          <p:nvPr userDrawn="1"/>
        </p:nvSpPr>
        <p:spPr>
          <a:xfrm>
            <a:off x="8765492" y="-74423"/>
            <a:ext cx="3301956" cy="2846513"/>
          </a:xfrm>
          <a:prstGeom prst="hexagon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3FF9307-27EF-44E6-9120-FB213B3380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854" b="44669"/>
          <a:stretch/>
        </p:blipFill>
        <p:spPr>
          <a:xfrm>
            <a:off x="9197606" y="6427174"/>
            <a:ext cx="2261666" cy="3048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600790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8" name="TextBox 7"/>
          <p:cNvSpPr txBox="1"/>
          <p:nvPr userDrawn="1"/>
        </p:nvSpPr>
        <p:spPr bwMode="auto">
          <a:xfrm>
            <a:off x="721217" y="6311900"/>
            <a:ext cx="9540383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1C243F"/>
                </a:solidFill>
                <a:effectLst/>
                <a:uLnTx/>
                <a:uFillTx/>
                <a:latin typeface="Arial" panose="020B0604020202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</a:b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1C243F"/>
                </a:solidFill>
                <a:effectLst/>
                <a:uLnTx/>
                <a:uFillTx/>
                <a:latin typeface="Arial" panose="020B0604020202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© CereCore® | CONFIDENTIAL – Contains proprietary information. Not intended for distribution.  </a:t>
            </a:r>
          </a:p>
        </p:txBody>
      </p:sp>
      <p:sp>
        <p:nvSpPr>
          <p:cNvPr id="13" name="Rounded Rectangle 12"/>
          <p:cNvSpPr/>
          <p:nvPr userDrawn="1"/>
        </p:nvSpPr>
        <p:spPr>
          <a:xfrm>
            <a:off x="804334" y="4334042"/>
            <a:ext cx="4880964" cy="761107"/>
          </a:xfrm>
          <a:prstGeom prst="roundRect">
            <a:avLst/>
          </a:prstGeom>
          <a:gradFill flip="none" rotWithShape="1">
            <a:gsLst>
              <a:gs pos="0">
                <a:srgbClr val="FFFFFF"/>
              </a:gs>
              <a:gs pos="11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266700" dist="50800" dir="8100000" sx="94000" sy="94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5" name="Rounded Rectangle 14"/>
          <p:cNvSpPr/>
          <p:nvPr userDrawn="1"/>
        </p:nvSpPr>
        <p:spPr>
          <a:xfrm>
            <a:off x="804334" y="3319294"/>
            <a:ext cx="4880964" cy="761107"/>
          </a:xfrm>
          <a:prstGeom prst="roundRect">
            <a:avLst/>
          </a:prstGeom>
          <a:gradFill flip="none" rotWithShape="1">
            <a:gsLst>
              <a:gs pos="0">
                <a:srgbClr val="FFFFFF"/>
              </a:gs>
              <a:gs pos="11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266700" dist="50800" dir="8100000" sx="94000" sy="94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7" name="Rounded Rectangle 16"/>
          <p:cNvSpPr/>
          <p:nvPr userDrawn="1"/>
        </p:nvSpPr>
        <p:spPr>
          <a:xfrm>
            <a:off x="804334" y="2345389"/>
            <a:ext cx="4880964" cy="761107"/>
          </a:xfrm>
          <a:prstGeom prst="roundRect">
            <a:avLst/>
          </a:prstGeom>
          <a:gradFill flip="none" rotWithShape="1">
            <a:gsLst>
              <a:gs pos="0">
                <a:srgbClr val="FFFFFF"/>
              </a:gs>
              <a:gs pos="11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266700" dist="50800" dir="8100000" sx="94000" sy="94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9" name="Rounded Rectangle 18"/>
          <p:cNvSpPr/>
          <p:nvPr userDrawn="1"/>
        </p:nvSpPr>
        <p:spPr>
          <a:xfrm>
            <a:off x="804334" y="1329912"/>
            <a:ext cx="4880964" cy="761107"/>
          </a:xfrm>
          <a:prstGeom prst="roundRect">
            <a:avLst/>
          </a:prstGeom>
          <a:gradFill flip="none" rotWithShape="1">
            <a:gsLst>
              <a:gs pos="0">
                <a:srgbClr val="FFFFFF"/>
              </a:gs>
              <a:gs pos="11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266700" dist="50800" dir="8100000" sx="94000" sy="94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ounded Rectangle 26"/>
          <p:cNvSpPr/>
          <p:nvPr userDrawn="1"/>
        </p:nvSpPr>
        <p:spPr>
          <a:xfrm>
            <a:off x="838200" y="5304199"/>
            <a:ext cx="4880964" cy="761107"/>
          </a:xfrm>
          <a:prstGeom prst="roundRect">
            <a:avLst/>
          </a:prstGeom>
          <a:gradFill flip="none" rotWithShape="1">
            <a:gsLst>
              <a:gs pos="0">
                <a:srgbClr val="FFFFFF"/>
              </a:gs>
              <a:gs pos="11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266700" dist="50800" dir="8100000" sx="94000" sy="94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32" name="TextBox 31"/>
          <p:cNvSpPr txBox="1"/>
          <p:nvPr userDrawn="1"/>
        </p:nvSpPr>
        <p:spPr>
          <a:xfrm>
            <a:off x="838200" y="1387299"/>
            <a:ext cx="4037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33" name="TextBox 32"/>
          <p:cNvSpPr txBox="1"/>
          <p:nvPr userDrawn="1"/>
        </p:nvSpPr>
        <p:spPr>
          <a:xfrm>
            <a:off x="849390" y="2395711"/>
            <a:ext cx="4037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34" name="TextBox 33"/>
          <p:cNvSpPr txBox="1"/>
          <p:nvPr userDrawn="1"/>
        </p:nvSpPr>
        <p:spPr>
          <a:xfrm>
            <a:off x="838200" y="3371575"/>
            <a:ext cx="4037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>
                <a:solidFill>
                  <a:schemeClr val="tx2"/>
                </a:solidFill>
              </a:rPr>
              <a:t>3</a:t>
            </a:r>
          </a:p>
        </p:txBody>
      </p:sp>
      <p:sp>
        <p:nvSpPr>
          <p:cNvPr id="35" name="TextBox 34"/>
          <p:cNvSpPr txBox="1"/>
          <p:nvPr userDrawn="1"/>
        </p:nvSpPr>
        <p:spPr>
          <a:xfrm>
            <a:off x="838200" y="4391429"/>
            <a:ext cx="4037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>
                <a:solidFill>
                  <a:schemeClr val="tx2"/>
                </a:solidFill>
              </a:rPr>
              <a:t>4</a:t>
            </a:r>
          </a:p>
        </p:txBody>
      </p:sp>
      <p:sp>
        <p:nvSpPr>
          <p:cNvPr id="36" name="TextBox 35"/>
          <p:cNvSpPr txBox="1"/>
          <p:nvPr userDrawn="1"/>
        </p:nvSpPr>
        <p:spPr>
          <a:xfrm>
            <a:off x="927746" y="5361586"/>
            <a:ext cx="4037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0" hasCustomPrompt="1"/>
          </p:nvPr>
        </p:nvSpPr>
        <p:spPr>
          <a:xfrm>
            <a:off x="1253136" y="1584282"/>
            <a:ext cx="4259262" cy="385763"/>
          </a:xfrm>
        </p:spPr>
        <p:txBody>
          <a:bodyPr>
            <a:noAutofit/>
          </a:bodyPr>
          <a:lstStyle>
            <a:lvl1pPr marL="0" indent="0">
              <a:buNone/>
              <a:defRPr sz="2100">
                <a:solidFill>
                  <a:schemeClr val="accent5"/>
                </a:solidFill>
                <a:latin typeface="+mn-lt"/>
                <a:cs typeface="Arial" panose="020B0604020202020204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>
                <a:latin typeface="+mn-lt"/>
                <a:cs typeface="Arial" panose="020B0604020202020204" pitchFamily="34" charset="0"/>
              </a:rPr>
              <a:t>Text</a:t>
            </a:r>
            <a:endParaRPr lang="en-US"/>
          </a:p>
        </p:txBody>
      </p:sp>
      <p:sp>
        <p:nvSpPr>
          <p:cNvPr id="42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1253136" y="2608509"/>
            <a:ext cx="4259262" cy="385763"/>
          </a:xfrm>
        </p:spPr>
        <p:txBody>
          <a:bodyPr>
            <a:noAutofit/>
          </a:bodyPr>
          <a:lstStyle>
            <a:lvl1pPr marL="0" indent="0">
              <a:buNone/>
              <a:defRPr sz="2100">
                <a:solidFill>
                  <a:schemeClr val="accent5"/>
                </a:solidFill>
                <a:latin typeface="+mn-lt"/>
                <a:cs typeface="Arial" panose="020B0604020202020204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>
                <a:latin typeface="+mn-lt"/>
                <a:cs typeface="Arial" panose="020B0604020202020204" pitchFamily="34" charset="0"/>
              </a:rPr>
              <a:t>Text</a:t>
            </a:r>
            <a:endParaRPr lang="en-US"/>
          </a:p>
        </p:txBody>
      </p:sp>
      <p:sp>
        <p:nvSpPr>
          <p:cNvPr id="43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1253136" y="3582414"/>
            <a:ext cx="4259262" cy="385763"/>
          </a:xfrm>
        </p:spPr>
        <p:txBody>
          <a:bodyPr>
            <a:noAutofit/>
          </a:bodyPr>
          <a:lstStyle>
            <a:lvl1pPr marL="0" indent="0">
              <a:buNone/>
              <a:defRPr sz="2100">
                <a:solidFill>
                  <a:schemeClr val="accent5"/>
                </a:solidFill>
                <a:latin typeface="+mn-lt"/>
                <a:cs typeface="Arial" panose="020B0604020202020204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>
                <a:latin typeface="+mn-lt"/>
                <a:cs typeface="Arial" panose="020B0604020202020204" pitchFamily="34" charset="0"/>
              </a:rPr>
              <a:t>Text</a:t>
            </a:r>
            <a:endParaRPr lang="en-US"/>
          </a:p>
        </p:txBody>
      </p:sp>
      <p:sp>
        <p:nvSpPr>
          <p:cNvPr id="44" name="Text Placeholder 40"/>
          <p:cNvSpPr>
            <a:spLocks noGrp="1"/>
          </p:cNvSpPr>
          <p:nvPr>
            <p:ph type="body" sz="quarter" idx="13" hasCustomPrompt="1"/>
          </p:nvPr>
        </p:nvSpPr>
        <p:spPr>
          <a:xfrm>
            <a:off x="1253136" y="4600481"/>
            <a:ext cx="4259262" cy="385763"/>
          </a:xfrm>
        </p:spPr>
        <p:txBody>
          <a:bodyPr>
            <a:noAutofit/>
          </a:bodyPr>
          <a:lstStyle>
            <a:lvl1pPr marL="0" indent="0">
              <a:buNone/>
              <a:defRPr sz="2100">
                <a:solidFill>
                  <a:schemeClr val="accent5"/>
                </a:solidFill>
                <a:latin typeface="+mn-lt"/>
                <a:cs typeface="Arial" panose="020B0604020202020204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>
                <a:latin typeface="+mn-lt"/>
                <a:cs typeface="Arial" panose="020B0604020202020204" pitchFamily="34" charset="0"/>
              </a:rPr>
              <a:t>Text</a:t>
            </a:r>
            <a:endParaRPr lang="en-US"/>
          </a:p>
        </p:txBody>
      </p:sp>
      <p:sp>
        <p:nvSpPr>
          <p:cNvPr id="46" name="Text Placeholder 40"/>
          <p:cNvSpPr>
            <a:spLocks noGrp="1"/>
          </p:cNvSpPr>
          <p:nvPr>
            <p:ph type="body" sz="quarter" idx="14" hasCustomPrompt="1"/>
          </p:nvPr>
        </p:nvSpPr>
        <p:spPr>
          <a:xfrm>
            <a:off x="1342682" y="5571152"/>
            <a:ext cx="4259262" cy="385763"/>
          </a:xfrm>
        </p:spPr>
        <p:txBody>
          <a:bodyPr>
            <a:noAutofit/>
          </a:bodyPr>
          <a:lstStyle>
            <a:lvl1pPr marL="0" indent="0">
              <a:buNone/>
              <a:defRPr sz="2100">
                <a:solidFill>
                  <a:schemeClr val="accent5"/>
                </a:solidFill>
                <a:latin typeface="+mn-lt"/>
                <a:cs typeface="Arial" panose="020B0604020202020204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>
                <a:latin typeface="+mn-lt"/>
                <a:cs typeface="Arial" panose="020B0604020202020204" pitchFamily="34" charset="0"/>
              </a:rPr>
              <a:t>Tex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7602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3FF9307-27EF-44E6-9120-FB213B3380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854" b="44669"/>
          <a:stretch/>
        </p:blipFill>
        <p:spPr>
          <a:xfrm>
            <a:off x="9197606" y="6427174"/>
            <a:ext cx="2261666" cy="3048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600790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8" name="TextBox 7"/>
          <p:cNvSpPr txBox="1"/>
          <p:nvPr userDrawn="1"/>
        </p:nvSpPr>
        <p:spPr bwMode="auto">
          <a:xfrm>
            <a:off x="721217" y="6311900"/>
            <a:ext cx="9540383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1C243F"/>
                </a:solidFill>
                <a:effectLst/>
                <a:uLnTx/>
                <a:uFillTx/>
                <a:latin typeface="Arial" panose="020B0604020202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</a:b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1C243F"/>
                </a:solidFill>
                <a:effectLst/>
                <a:uLnTx/>
                <a:uFillTx/>
                <a:latin typeface="Arial" panose="020B0604020202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© CereCore® | CONFIDENTIAL – Contains proprietary information. Not intended for distribution.  </a:t>
            </a:r>
          </a:p>
        </p:txBody>
      </p:sp>
      <p:sp>
        <p:nvSpPr>
          <p:cNvPr id="13" name="Rounded Rectangle 12"/>
          <p:cNvSpPr/>
          <p:nvPr userDrawn="1"/>
        </p:nvSpPr>
        <p:spPr>
          <a:xfrm>
            <a:off x="804334" y="5074276"/>
            <a:ext cx="4880964" cy="761107"/>
          </a:xfrm>
          <a:prstGeom prst="roundRect">
            <a:avLst/>
          </a:prstGeom>
          <a:gradFill flip="none" rotWithShape="1">
            <a:gsLst>
              <a:gs pos="0">
                <a:srgbClr val="FFFFFF"/>
              </a:gs>
              <a:gs pos="11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266700" dist="50800" dir="8100000" sx="94000" sy="94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5" name="Rounded Rectangle 14"/>
          <p:cNvSpPr/>
          <p:nvPr userDrawn="1"/>
        </p:nvSpPr>
        <p:spPr>
          <a:xfrm>
            <a:off x="804334" y="3850784"/>
            <a:ext cx="4880964" cy="761107"/>
          </a:xfrm>
          <a:prstGeom prst="roundRect">
            <a:avLst/>
          </a:prstGeom>
          <a:gradFill flip="none" rotWithShape="1">
            <a:gsLst>
              <a:gs pos="0">
                <a:srgbClr val="FFFFFF"/>
              </a:gs>
              <a:gs pos="11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266700" dist="50800" dir="8100000" sx="94000" sy="94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7" name="Rounded Rectangle 16"/>
          <p:cNvSpPr/>
          <p:nvPr userDrawn="1"/>
        </p:nvSpPr>
        <p:spPr>
          <a:xfrm>
            <a:off x="804334" y="2627292"/>
            <a:ext cx="4880964" cy="761107"/>
          </a:xfrm>
          <a:prstGeom prst="roundRect">
            <a:avLst/>
          </a:prstGeom>
          <a:gradFill flip="none" rotWithShape="1">
            <a:gsLst>
              <a:gs pos="0">
                <a:srgbClr val="FFFFFF"/>
              </a:gs>
              <a:gs pos="11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266700" dist="50800" dir="8100000" sx="94000" sy="94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9" name="Rounded Rectangle 18"/>
          <p:cNvSpPr/>
          <p:nvPr userDrawn="1"/>
        </p:nvSpPr>
        <p:spPr>
          <a:xfrm>
            <a:off x="804334" y="1403800"/>
            <a:ext cx="4880964" cy="761107"/>
          </a:xfrm>
          <a:prstGeom prst="roundRect">
            <a:avLst/>
          </a:prstGeom>
          <a:gradFill flip="none" rotWithShape="1">
            <a:gsLst>
              <a:gs pos="0">
                <a:srgbClr val="FFFFFF"/>
              </a:gs>
              <a:gs pos="11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266700" dist="50800" dir="8100000" sx="94000" sy="94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/>
          <p:cNvSpPr txBox="1"/>
          <p:nvPr userDrawn="1"/>
        </p:nvSpPr>
        <p:spPr>
          <a:xfrm>
            <a:off x="838200" y="1461187"/>
            <a:ext cx="4037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33" name="TextBox 32"/>
          <p:cNvSpPr txBox="1"/>
          <p:nvPr userDrawn="1"/>
        </p:nvSpPr>
        <p:spPr>
          <a:xfrm>
            <a:off x="849390" y="2677614"/>
            <a:ext cx="4037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34" name="TextBox 33"/>
          <p:cNvSpPr txBox="1"/>
          <p:nvPr userDrawn="1"/>
        </p:nvSpPr>
        <p:spPr>
          <a:xfrm>
            <a:off x="838200" y="3903065"/>
            <a:ext cx="4037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>
                <a:solidFill>
                  <a:schemeClr val="tx2"/>
                </a:solidFill>
              </a:rPr>
              <a:t>3</a:t>
            </a:r>
          </a:p>
        </p:txBody>
      </p:sp>
      <p:sp>
        <p:nvSpPr>
          <p:cNvPr id="35" name="TextBox 34"/>
          <p:cNvSpPr txBox="1"/>
          <p:nvPr userDrawn="1"/>
        </p:nvSpPr>
        <p:spPr>
          <a:xfrm>
            <a:off x="838200" y="5131663"/>
            <a:ext cx="4037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>
                <a:solidFill>
                  <a:schemeClr val="tx2"/>
                </a:solidFill>
              </a:rPr>
              <a:t>4</a:t>
            </a:r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0" hasCustomPrompt="1"/>
          </p:nvPr>
        </p:nvSpPr>
        <p:spPr>
          <a:xfrm>
            <a:off x="1253136" y="1658170"/>
            <a:ext cx="4259262" cy="385763"/>
          </a:xfrm>
        </p:spPr>
        <p:txBody>
          <a:bodyPr>
            <a:noAutofit/>
          </a:bodyPr>
          <a:lstStyle>
            <a:lvl1pPr marL="0" indent="0">
              <a:buNone/>
              <a:defRPr sz="2100">
                <a:solidFill>
                  <a:schemeClr val="accent5"/>
                </a:solidFill>
                <a:latin typeface="+mn-lt"/>
                <a:cs typeface="Arial" panose="020B0604020202020204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>
                <a:latin typeface="+mn-lt"/>
                <a:cs typeface="Arial" panose="020B0604020202020204" pitchFamily="34" charset="0"/>
              </a:rPr>
              <a:t>Text</a:t>
            </a:r>
            <a:endParaRPr lang="en-US"/>
          </a:p>
        </p:txBody>
      </p:sp>
      <p:sp>
        <p:nvSpPr>
          <p:cNvPr id="42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1253136" y="2890412"/>
            <a:ext cx="4259262" cy="385763"/>
          </a:xfrm>
        </p:spPr>
        <p:txBody>
          <a:bodyPr>
            <a:noAutofit/>
          </a:bodyPr>
          <a:lstStyle>
            <a:lvl1pPr marL="0" indent="0">
              <a:buNone/>
              <a:defRPr sz="2100">
                <a:solidFill>
                  <a:schemeClr val="accent5"/>
                </a:solidFill>
                <a:latin typeface="+mn-lt"/>
                <a:cs typeface="Arial" panose="020B0604020202020204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>
                <a:latin typeface="+mn-lt"/>
                <a:cs typeface="Arial" panose="020B0604020202020204" pitchFamily="34" charset="0"/>
              </a:rPr>
              <a:t>Text</a:t>
            </a:r>
            <a:endParaRPr lang="en-US"/>
          </a:p>
        </p:txBody>
      </p:sp>
      <p:sp>
        <p:nvSpPr>
          <p:cNvPr id="43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1253136" y="4113904"/>
            <a:ext cx="4259262" cy="385763"/>
          </a:xfrm>
        </p:spPr>
        <p:txBody>
          <a:bodyPr>
            <a:noAutofit/>
          </a:bodyPr>
          <a:lstStyle>
            <a:lvl1pPr marL="0" indent="0">
              <a:buNone/>
              <a:defRPr sz="2100">
                <a:solidFill>
                  <a:schemeClr val="accent5"/>
                </a:solidFill>
                <a:latin typeface="+mn-lt"/>
                <a:cs typeface="Arial" panose="020B0604020202020204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>
                <a:latin typeface="+mn-lt"/>
                <a:cs typeface="Arial" panose="020B0604020202020204" pitchFamily="34" charset="0"/>
              </a:rPr>
              <a:t>Text</a:t>
            </a:r>
            <a:endParaRPr lang="en-US"/>
          </a:p>
        </p:txBody>
      </p:sp>
      <p:sp>
        <p:nvSpPr>
          <p:cNvPr id="44" name="Text Placeholder 40"/>
          <p:cNvSpPr>
            <a:spLocks noGrp="1"/>
          </p:cNvSpPr>
          <p:nvPr>
            <p:ph type="body" sz="quarter" idx="13" hasCustomPrompt="1"/>
          </p:nvPr>
        </p:nvSpPr>
        <p:spPr>
          <a:xfrm>
            <a:off x="1253136" y="5340715"/>
            <a:ext cx="4259262" cy="385763"/>
          </a:xfrm>
        </p:spPr>
        <p:txBody>
          <a:bodyPr>
            <a:noAutofit/>
          </a:bodyPr>
          <a:lstStyle>
            <a:lvl1pPr marL="0" indent="0">
              <a:buNone/>
              <a:defRPr sz="2100">
                <a:solidFill>
                  <a:schemeClr val="accent5"/>
                </a:solidFill>
                <a:latin typeface="+mn-lt"/>
                <a:cs typeface="Arial" panose="020B0604020202020204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>
                <a:latin typeface="+mn-lt"/>
                <a:cs typeface="Arial" panose="020B0604020202020204" pitchFamily="34" charset="0"/>
              </a:rPr>
              <a:t>Text</a:t>
            </a:r>
            <a:endParaRPr lang="en-US"/>
          </a:p>
        </p:txBody>
      </p:sp>
      <p:sp>
        <p:nvSpPr>
          <p:cNvPr id="29" name="Hexagon 28">
            <a:extLst>
              <a:ext uri="{FF2B5EF4-FFF2-40B4-BE49-F238E27FC236}">
                <a16:creationId xmlns:a16="http://schemas.microsoft.com/office/drawing/2014/main" id="{B813A439-9273-414D-B0CB-A69F264E8766}"/>
              </a:ext>
            </a:extLst>
          </p:cNvPr>
          <p:cNvSpPr/>
          <p:nvPr userDrawn="1"/>
        </p:nvSpPr>
        <p:spPr>
          <a:xfrm>
            <a:off x="8765492" y="-74423"/>
            <a:ext cx="3301956" cy="2846513"/>
          </a:xfrm>
          <a:prstGeom prst="hexagon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Hexagon 29">
            <a:extLst>
              <a:ext uri="{FF2B5EF4-FFF2-40B4-BE49-F238E27FC236}">
                <a16:creationId xmlns:a16="http://schemas.microsoft.com/office/drawing/2014/main" id="{3FC4A947-8CD1-409D-A8BC-A0F7F7C85F9F}"/>
              </a:ext>
            </a:extLst>
          </p:cNvPr>
          <p:cNvSpPr/>
          <p:nvPr userDrawn="1"/>
        </p:nvSpPr>
        <p:spPr>
          <a:xfrm>
            <a:off x="10755144" y="2906296"/>
            <a:ext cx="1254809" cy="1054093"/>
          </a:xfrm>
          <a:prstGeom prst="hexagon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Hexagon 30">
            <a:extLst>
              <a:ext uri="{FF2B5EF4-FFF2-40B4-BE49-F238E27FC236}">
                <a16:creationId xmlns:a16="http://schemas.microsoft.com/office/drawing/2014/main" id="{B5C6AA0B-F788-42D5-B203-AB4D15D1AE52}"/>
              </a:ext>
            </a:extLst>
          </p:cNvPr>
          <p:cNvSpPr/>
          <p:nvPr userDrawn="1"/>
        </p:nvSpPr>
        <p:spPr>
          <a:xfrm>
            <a:off x="10935999" y="4684237"/>
            <a:ext cx="893098" cy="769912"/>
          </a:xfrm>
          <a:prstGeom prst="hexagon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Hexagon 39">
            <a:extLst>
              <a:ext uri="{FF2B5EF4-FFF2-40B4-BE49-F238E27FC236}">
                <a16:creationId xmlns:a16="http://schemas.microsoft.com/office/drawing/2014/main" id="{ADFC9828-8AA7-44E3-B694-08FEB98A7300}"/>
              </a:ext>
            </a:extLst>
          </p:cNvPr>
          <p:cNvSpPr/>
          <p:nvPr userDrawn="1"/>
        </p:nvSpPr>
        <p:spPr>
          <a:xfrm>
            <a:off x="9108770" y="2277720"/>
            <a:ext cx="1254809" cy="1054093"/>
          </a:xfrm>
          <a:prstGeom prst="hexagon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Hexagon 44">
            <a:extLst>
              <a:ext uri="{FF2B5EF4-FFF2-40B4-BE49-F238E27FC236}">
                <a16:creationId xmlns:a16="http://schemas.microsoft.com/office/drawing/2014/main" id="{334A1A24-B76D-48B5-ABE5-66034B401F62}"/>
              </a:ext>
            </a:extLst>
          </p:cNvPr>
          <p:cNvSpPr/>
          <p:nvPr userDrawn="1"/>
        </p:nvSpPr>
        <p:spPr>
          <a:xfrm>
            <a:off x="9534692" y="5069193"/>
            <a:ext cx="893098" cy="769912"/>
          </a:xfrm>
          <a:prstGeom prst="hexagon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Hexagon 49">
            <a:extLst>
              <a:ext uri="{FF2B5EF4-FFF2-40B4-BE49-F238E27FC236}">
                <a16:creationId xmlns:a16="http://schemas.microsoft.com/office/drawing/2014/main" id="{21ACA110-85E1-43E5-B1C3-4D43C3E7D5ED}"/>
              </a:ext>
            </a:extLst>
          </p:cNvPr>
          <p:cNvSpPr/>
          <p:nvPr userDrawn="1"/>
        </p:nvSpPr>
        <p:spPr>
          <a:xfrm>
            <a:off x="9555151" y="3060411"/>
            <a:ext cx="1722638" cy="1447089"/>
          </a:xfrm>
          <a:prstGeom prst="hexagon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Hexagon 50">
            <a:extLst>
              <a:ext uri="{FF2B5EF4-FFF2-40B4-BE49-F238E27FC236}">
                <a16:creationId xmlns:a16="http://schemas.microsoft.com/office/drawing/2014/main" id="{A8727BE1-4AC2-48DD-AF2C-8A9ED516BF4D}"/>
              </a:ext>
            </a:extLst>
          </p:cNvPr>
          <p:cNvSpPr/>
          <p:nvPr userDrawn="1"/>
        </p:nvSpPr>
        <p:spPr>
          <a:xfrm>
            <a:off x="8291759" y="4730605"/>
            <a:ext cx="1722638" cy="1447089"/>
          </a:xfrm>
          <a:prstGeom prst="hexagon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46160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3FF9307-27EF-44E6-9120-FB213B3380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854" b="44669"/>
          <a:stretch/>
        </p:blipFill>
        <p:spPr>
          <a:xfrm>
            <a:off x="9197606" y="6427174"/>
            <a:ext cx="2261666" cy="3048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600790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8" name="TextBox 7"/>
          <p:cNvSpPr txBox="1"/>
          <p:nvPr userDrawn="1"/>
        </p:nvSpPr>
        <p:spPr bwMode="auto">
          <a:xfrm>
            <a:off x="721217" y="6311900"/>
            <a:ext cx="9540383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1C243F"/>
                </a:solidFill>
                <a:effectLst/>
                <a:uLnTx/>
                <a:uFillTx/>
                <a:latin typeface="Arial" panose="020B0604020202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</a:b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1C243F"/>
                </a:solidFill>
                <a:effectLst/>
                <a:uLnTx/>
                <a:uFillTx/>
                <a:latin typeface="Arial" panose="020B0604020202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© CereCore® | CONFIDENTIAL – Contains proprietary information. Not intended for distribution.  </a:t>
            </a:r>
          </a:p>
        </p:txBody>
      </p:sp>
      <p:sp>
        <p:nvSpPr>
          <p:cNvPr id="13" name="Rounded Rectangle 12"/>
          <p:cNvSpPr/>
          <p:nvPr userDrawn="1"/>
        </p:nvSpPr>
        <p:spPr>
          <a:xfrm>
            <a:off x="804334" y="4345694"/>
            <a:ext cx="4880964" cy="761107"/>
          </a:xfrm>
          <a:prstGeom prst="roundRect">
            <a:avLst/>
          </a:prstGeom>
          <a:gradFill flip="none" rotWithShape="1">
            <a:gsLst>
              <a:gs pos="0">
                <a:srgbClr val="FFFFFF"/>
              </a:gs>
              <a:gs pos="11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266700" dist="50800" dir="8100000" sx="94000" sy="94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5" name="Rounded Rectangle 14"/>
          <p:cNvSpPr/>
          <p:nvPr userDrawn="1"/>
        </p:nvSpPr>
        <p:spPr>
          <a:xfrm>
            <a:off x="804334" y="3327618"/>
            <a:ext cx="4880964" cy="761107"/>
          </a:xfrm>
          <a:prstGeom prst="roundRect">
            <a:avLst/>
          </a:prstGeom>
          <a:gradFill flip="none" rotWithShape="1">
            <a:gsLst>
              <a:gs pos="0">
                <a:srgbClr val="FFFFFF"/>
              </a:gs>
              <a:gs pos="11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266700" dist="50800" dir="8100000" sx="94000" sy="94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7" name="Rounded Rectangle 16"/>
          <p:cNvSpPr/>
          <p:nvPr userDrawn="1"/>
        </p:nvSpPr>
        <p:spPr>
          <a:xfrm>
            <a:off x="804334" y="2361576"/>
            <a:ext cx="4880964" cy="761107"/>
          </a:xfrm>
          <a:prstGeom prst="roundRect">
            <a:avLst/>
          </a:prstGeom>
          <a:gradFill flip="none" rotWithShape="1">
            <a:gsLst>
              <a:gs pos="0">
                <a:srgbClr val="FFFFFF"/>
              </a:gs>
              <a:gs pos="11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266700" dist="50800" dir="8100000" sx="94000" sy="94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9" name="Rounded Rectangle 18"/>
          <p:cNvSpPr/>
          <p:nvPr userDrawn="1"/>
        </p:nvSpPr>
        <p:spPr>
          <a:xfrm>
            <a:off x="804334" y="1403800"/>
            <a:ext cx="4880964" cy="761107"/>
          </a:xfrm>
          <a:prstGeom prst="roundRect">
            <a:avLst/>
          </a:prstGeom>
          <a:gradFill flip="none" rotWithShape="1">
            <a:gsLst>
              <a:gs pos="0">
                <a:srgbClr val="FFFFFF"/>
              </a:gs>
              <a:gs pos="11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266700" dist="50800" dir="8100000" sx="94000" sy="94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/>
          <p:cNvSpPr txBox="1"/>
          <p:nvPr userDrawn="1"/>
        </p:nvSpPr>
        <p:spPr>
          <a:xfrm>
            <a:off x="838200" y="1461187"/>
            <a:ext cx="4037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33" name="TextBox 32"/>
          <p:cNvSpPr txBox="1"/>
          <p:nvPr userDrawn="1"/>
        </p:nvSpPr>
        <p:spPr>
          <a:xfrm>
            <a:off x="849390" y="2411898"/>
            <a:ext cx="4037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34" name="TextBox 33"/>
          <p:cNvSpPr txBox="1"/>
          <p:nvPr userDrawn="1"/>
        </p:nvSpPr>
        <p:spPr>
          <a:xfrm>
            <a:off x="838200" y="3379899"/>
            <a:ext cx="4037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>
                <a:solidFill>
                  <a:schemeClr val="tx2"/>
                </a:solidFill>
              </a:rPr>
              <a:t>3</a:t>
            </a:r>
          </a:p>
        </p:txBody>
      </p:sp>
      <p:sp>
        <p:nvSpPr>
          <p:cNvPr id="35" name="TextBox 34"/>
          <p:cNvSpPr txBox="1"/>
          <p:nvPr userDrawn="1"/>
        </p:nvSpPr>
        <p:spPr>
          <a:xfrm>
            <a:off x="838200" y="4403081"/>
            <a:ext cx="4037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>
                <a:solidFill>
                  <a:schemeClr val="tx2"/>
                </a:solidFill>
              </a:rPr>
              <a:t>4</a:t>
            </a:r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0" hasCustomPrompt="1"/>
          </p:nvPr>
        </p:nvSpPr>
        <p:spPr>
          <a:xfrm>
            <a:off x="1253136" y="1658170"/>
            <a:ext cx="4259262" cy="385763"/>
          </a:xfrm>
        </p:spPr>
        <p:txBody>
          <a:bodyPr>
            <a:noAutofit/>
          </a:bodyPr>
          <a:lstStyle>
            <a:lvl1pPr marL="0" indent="0">
              <a:buNone/>
              <a:defRPr sz="2100">
                <a:solidFill>
                  <a:schemeClr val="accent5"/>
                </a:solidFill>
                <a:latin typeface="+mn-lt"/>
                <a:cs typeface="Arial" panose="020B0604020202020204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>
                <a:latin typeface="+mn-lt"/>
                <a:cs typeface="Arial" panose="020B0604020202020204" pitchFamily="34" charset="0"/>
              </a:rPr>
              <a:t>Text</a:t>
            </a:r>
            <a:endParaRPr lang="en-US"/>
          </a:p>
        </p:txBody>
      </p:sp>
      <p:sp>
        <p:nvSpPr>
          <p:cNvPr id="42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1253136" y="2624696"/>
            <a:ext cx="4259262" cy="385763"/>
          </a:xfrm>
        </p:spPr>
        <p:txBody>
          <a:bodyPr>
            <a:noAutofit/>
          </a:bodyPr>
          <a:lstStyle>
            <a:lvl1pPr marL="0" indent="0">
              <a:buNone/>
              <a:defRPr sz="2100">
                <a:solidFill>
                  <a:schemeClr val="accent5"/>
                </a:solidFill>
                <a:latin typeface="+mn-lt"/>
                <a:cs typeface="Arial" panose="020B0604020202020204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>
                <a:latin typeface="+mn-lt"/>
                <a:cs typeface="Arial" panose="020B0604020202020204" pitchFamily="34" charset="0"/>
              </a:rPr>
              <a:t>Text</a:t>
            </a:r>
            <a:endParaRPr lang="en-US"/>
          </a:p>
        </p:txBody>
      </p:sp>
      <p:sp>
        <p:nvSpPr>
          <p:cNvPr id="43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1253136" y="3590738"/>
            <a:ext cx="4259262" cy="385763"/>
          </a:xfrm>
        </p:spPr>
        <p:txBody>
          <a:bodyPr>
            <a:noAutofit/>
          </a:bodyPr>
          <a:lstStyle>
            <a:lvl1pPr marL="0" indent="0">
              <a:buNone/>
              <a:defRPr sz="2100">
                <a:solidFill>
                  <a:schemeClr val="accent5"/>
                </a:solidFill>
                <a:latin typeface="+mn-lt"/>
                <a:cs typeface="Arial" panose="020B0604020202020204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>
                <a:latin typeface="+mn-lt"/>
                <a:cs typeface="Arial" panose="020B0604020202020204" pitchFamily="34" charset="0"/>
              </a:rPr>
              <a:t>Text</a:t>
            </a:r>
            <a:endParaRPr lang="en-US"/>
          </a:p>
        </p:txBody>
      </p:sp>
      <p:sp>
        <p:nvSpPr>
          <p:cNvPr id="44" name="Text Placeholder 40"/>
          <p:cNvSpPr>
            <a:spLocks noGrp="1"/>
          </p:cNvSpPr>
          <p:nvPr>
            <p:ph type="body" sz="quarter" idx="13" hasCustomPrompt="1"/>
          </p:nvPr>
        </p:nvSpPr>
        <p:spPr>
          <a:xfrm>
            <a:off x="1253136" y="4612133"/>
            <a:ext cx="4259262" cy="385763"/>
          </a:xfrm>
        </p:spPr>
        <p:txBody>
          <a:bodyPr>
            <a:noAutofit/>
          </a:bodyPr>
          <a:lstStyle>
            <a:lvl1pPr marL="0" indent="0">
              <a:buNone/>
              <a:defRPr sz="2100">
                <a:solidFill>
                  <a:schemeClr val="accent5"/>
                </a:solidFill>
                <a:latin typeface="+mn-lt"/>
                <a:cs typeface="Arial" panose="020B0604020202020204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>
                <a:latin typeface="+mn-lt"/>
                <a:cs typeface="Arial" panose="020B0604020202020204" pitchFamily="34" charset="0"/>
              </a:rPr>
              <a:t>Text</a:t>
            </a:r>
            <a:endParaRPr lang="en-US"/>
          </a:p>
        </p:txBody>
      </p:sp>
      <p:sp>
        <p:nvSpPr>
          <p:cNvPr id="29" name="Hexagon 28">
            <a:extLst>
              <a:ext uri="{FF2B5EF4-FFF2-40B4-BE49-F238E27FC236}">
                <a16:creationId xmlns:a16="http://schemas.microsoft.com/office/drawing/2014/main" id="{B813A439-9273-414D-B0CB-A69F264E8766}"/>
              </a:ext>
            </a:extLst>
          </p:cNvPr>
          <p:cNvSpPr/>
          <p:nvPr userDrawn="1"/>
        </p:nvSpPr>
        <p:spPr>
          <a:xfrm>
            <a:off x="8765492" y="-74423"/>
            <a:ext cx="3301956" cy="2846513"/>
          </a:xfrm>
          <a:prstGeom prst="hexagon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Hexagon 29">
            <a:extLst>
              <a:ext uri="{FF2B5EF4-FFF2-40B4-BE49-F238E27FC236}">
                <a16:creationId xmlns:a16="http://schemas.microsoft.com/office/drawing/2014/main" id="{3FC4A947-8CD1-409D-A8BC-A0F7F7C85F9F}"/>
              </a:ext>
            </a:extLst>
          </p:cNvPr>
          <p:cNvSpPr/>
          <p:nvPr userDrawn="1"/>
        </p:nvSpPr>
        <p:spPr>
          <a:xfrm>
            <a:off x="10755144" y="2906296"/>
            <a:ext cx="1254809" cy="1054093"/>
          </a:xfrm>
          <a:prstGeom prst="hexagon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Hexagon 30">
            <a:extLst>
              <a:ext uri="{FF2B5EF4-FFF2-40B4-BE49-F238E27FC236}">
                <a16:creationId xmlns:a16="http://schemas.microsoft.com/office/drawing/2014/main" id="{B5C6AA0B-F788-42D5-B203-AB4D15D1AE52}"/>
              </a:ext>
            </a:extLst>
          </p:cNvPr>
          <p:cNvSpPr/>
          <p:nvPr userDrawn="1"/>
        </p:nvSpPr>
        <p:spPr>
          <a:xfrm>
            <a:off x="10935999" y="4684237"/>
            <a:ext cx="893098" cy="769912"/>
          </a:xfrm>
          <a:prstGeom prst="hexagon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Hexagon 39">
            <a:extLst>
              <a:ext uri="{FF2B5EF4-FFF2-40B4-BE49-F238E27FC236}">
                <a16:creationId xmlns:a16="http://schemas.microsoft.com/office/drawing/2014/main" id="{ADFC9828-8AA7-44E3-B694-08FEB98A7300}"/>
              </a:ext>
            </a:extLst>
          </p:cNvPr>
          <p:cNvSpPr/>
          <p:nvPr userDrawn="1"/>
        </p:nvSpPr>
        <p:spPr>
          <a:xfrm>
            <a:off x="9108770" y="2277720"/>
            <a:ext cx="1254809" cy="1054093"/>
          </a:xfrm>
          <a:prstGeom prst="hexagon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Hexagon 44">
            <a:extLst>
              <a:ext uri="{FF2B5EF4-FFF2-40B4-BE49-F238E27FC236}">
                <a16:creationId xmlns:a16="http://schemas.microsoft.com/office/drawing/2014/main" id="{334A1A24-B76D-48B5-ABE5-66034B401F62}"/>
              </a:ext>
            </a:extLst>
          </p:cNvPr>
          <p:cNvSpPr/>
          <p:nvPr userDrawn="1"/>
        </p:nvSpPr>
        <p:spPr>
          <a:xfrm>
            <a:off x="9534692" y="5069193"/>
            <a:ext cx="893098" cy="769912"/>
          </a:xfrm>
          <a:prstGeom prst="hexagon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Hexagon 49">
            <a:extLst>
              <a:ext uri="{FF2B5EF4-FFF2-40B4-BE49-F238E27FC236}">
                <a16:creationId xmlns:a16="http://schemas.microsoft.com/office/drawing/2014/main" id="{21ACA110-85E1-43E5-B1C3-4D43C3E7D5ED}"/>
              </a:ext>
            </a:extLst>
          </p:cNvPr>
          <p:cNvSpPr/>
          <p:nvPr userDrawn="1"/>
        </p:nvSpPr>
        <p:spPr>
          <a:xfrm>
            <a:off x="9555151" y="3060411"/>
            <a:ext cx="1722638" cy="1447089"/>
          </a:xfrm>
          <a:prstGeom prst="hexagon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Hexagon 50">
            <a:extLst>
              <a:ext uri="{FF2B5EF4-FFF2-40B4-BE49-F238E27FC236}">
                <a16:creationId xmlns:a16="http://schemas.microsoft.com/office/drawing/2014/main" id="{A8727BE1-4AC2-48DD-AF2C-8A9ED516BF4D}"/>
              </a:ext>
            </a:extLst>
          </p:cNvPr>
          <p:cNvSpPr/>
          <p:nvPr userDrawn="1"/>
        </p:nvSpPr>
        <p:spPr>
          <a:xfrm>
            <a:off x="8291759" y="4730605"/>
            <a:ext cx="1722638" cy="1447089"/>
          </a:xfrm>
          <a:prstGeom prst="hexagon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ounded Rectangle 12">
            <a:extLst>
              <a:ext uri="{FF2B5EF4-FFF2-40B4-BE49-F238E27FC236}">
                <a16:creationId xmlns:a16="http://schemas.microsoft.com/office/drawing/2014/main" id="{C1510F8F-36C9-459D-A20B-6A31C5E77663}"/>
              </a:ext>
            </a:extLst>
          </p:cNvPr>
          <p:cNvSpPr/>
          <p:nvPr userDrawn="1"/>
        </p:nvSpPr>
        <p:spPr>
          <a:xfrm>
            <a:off x="6325010" y="4350541"/>
            <a:ext cx="4880964" cy="761107"/>
          </a:xfrm>
          <a:prstGeom prst="roundRect">
            <a:avLst/>
          </a:prstGeom>
          <a:gradFill flip="none" rotWithShape="1">
            <a:gsLst>
              <a:gs pos="0">
                <a:srgbClr val="FFFFFF"/>
              </a:gs>
              <a:gs pos="11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266700" dist="50800" dir="8100000" sx="94000" sy="94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5" name="Rounded Rectangle 14">
            <a:extLst>
              <a:ext uri="{FF2B5EF4-FFF2-40B4-BE49-F238E27FC236}">
                <a16:creationId xmlns:a16="http://schemas.microsoft.com/office/drawing/2014/main" id="{D7E517F6-67E6-4331-B98B-242C55CA72AA}"/>
              </a:ext>
            </a:extLst>
          </p:cNvPr>
          <p:cNvSpPr/>
          <p:nvPr userDrawn="1"/>
        </p:nvSpPr>
        <p:spPr>
          <a:xfrm>
            <a:off x="6325010" y="3335793"/>
            <a:ext cx="4880964" cy="761107"/>
          </a:xfrm>
          <a:prstGeom prst="roundRect">
            <a:avLst/>
          </a:prstGeom>
          <a:gradFill flip="none" rotWithShape="1">
            <a:gsLst>
              <a:gs pos="0">
                <a:srgbClr val="FFFFFF"/>
              </a:gs>
              <a:gs pos="11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266700" dist="50800" dir="8100000" sx="94000" sy="94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6" name="Rounded Rectangle 16">
            <a:extLst>
              <a:ext uri="{FF2B5EF4-FFF2-40B4-BE49-F238E27FC236}">
                <a16:creationId xmlns:a16="http://schemas.microsoft.com/office/drawing/2014/main" id="{D46F9EFB-799B-4DDC-BC48-ADC61C440D50}"/>
              </a:ext>
            </a:extLst>
          </p:cNvPr>
          <p:cNvSpPr/>
          <p:nvPr userDrawn="1"/>
        </p:nvSpPr>
        <p:spPr>
          <a:xfrm>
            <a:off x="6325010" y="2361888"/>
            <a:ext cx="4880964" cy="761107"/>
          </a:xfrm>
          <a:prstGeom prst="roundRect">
            <a:avLst/>
          </a:prstGeom>
          <a:gradFill flip="none" rotWithShape="1">
            <a:gsLst>
              <a:gs pos="0">
                <a:srgbClr val="FFFFFF"/>
              </a:gs>
              <a:gs pos="11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266700" dist="50800" dir="8100000" sx="94000" sy="94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7" name="Rounded Rectangle 18">
            <a:extLst>
              <a:ext uri="{FF2B5EF4-FFF2-40B4-BE49-F238E27FC236}">
                <a16:creationId xmlns:a16="http://schemas.microsoft.com/office/drawing/2014/main" id="{A04F4157-5CA8-43F3-B169-EF4779502838}"/>
              </a:ext>
            </a:extLst>
          </p:cNvPr>
          <p:cNvSpPr/>
          <p:nvPr userDrawn="1"/>
        </p:nvSpPr>
        <p:spPr>
          <a:xfrm>
            <a:off x="6325010" y="1346411"/>
            <a:ext cx="4880964" cy="761107"/>
          </a:xfrm>
          <a:prstGeom prst="roundRect">
            <a:avLst/>
          </a:prstGeom>
          <a:gradFill flip="none" rotWithShape="1">
            <a:gsLst>
              <a:gs pos="0">
                <a:srgbClr val="FFFFFF"/>
              </a:gs>
              <a:gs pos="11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266700" dist="50800" dir="8100000" sx="94000" sy="94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ounded Rectangle 26">
            <a:extLst>
              <a:ext uri="{FF2B5EF4-FFF2-40B4-BE49-F238E27FC236}">
                <a16:creationId xmlns:a16="http://schemas.microsoft.com/office/drawing/2014/main" id="{2D5E2804-ED07-4B1B-B9E1-DF4621CF37E3}"/>
              </a:ext>
            </a:extLst>
          </p:cNvPr>
          <p:cNvSpPr/>
          <p:nvPr userDrawn="1"/>
        </p:nvSpPr>
        <p:spPr>
          <a:xfrm>
            <a:off x="6358876" y="5320698"/>
            <a:ext cx="4880964" cy="761107"/>
          </a:xfrm>
          <a:prstGeom prst="roundRect">
            <a:avLst/>
          </a:prstGeom>
          <a:gradFill flip="none" rotWithShape="1">
            <a:gsLst>
              <a:gs pos="0">
                <a:srgbClr val="FFFFFF"/>
              </a:gs>
              <a:gs pos="11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266700" dist="50800" dir="8100000" sx="94000" sy="94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716D12D-DAB2-49CE-BC78-DC0B4BB55CF9}"/>
              </a:ext>
            </a:extLst>
          </p:cNvPr>
          <p:cNvSpPr txBox="1"/>
          <p:nvPr userDrawn="1"/>
        </p:nvSpPr>
        <p:spPr>
          <a:xfrm>
            <a:off x="6358876" y="1403798"/>
            <a:ext cx="4037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A657D51-6F20-4F66-B8B8-F492A262F850}"/>
              </a:ext>
            </a:extLst>
          </p:cNvPr>
          <p:cNvSpPr txBox="1"/>
          <p:nvPr userDrawn="1"/>
        </p:nvSpPr>
        <p:spPr>
          <a:xfrm>
            <a:off x="6370066" y="2412210"/>
            <a:ext cx="4037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9EDEB0A-6DFC-4C52-A53C-5E400F3B863D}"/>
              </a:ext>
            </a:extLst>
          </p:cNvPr>
          <p:cNvSpPr txBox="1"/>
          <p:nvPr userDrawn="1"/>
        </p:nvSpPr>
        <p:spPr>
          <a:xfrm>
            <a:off x="6358876" y="3388074"/>
            <a:ext cx="4037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>
                <a:solidFill>
                  <a:schemeClr val="tx2"/>
                </a:solidFill>
              </a:rPr>
              <a:t>3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E8CF145E-EC97-4941-AC1D-31148B563012}"/>
              </a:ext>
            </a:extLst>
          </p:cNvPr>
          <p:cNvSpPr txBox="1"/>
          <p:nvPr userDrawn="1"/>
        </p:nvSpPr>
        <p:spPr>
          <a:xfrm>
            <a:off x="6358876" y="4407928"/>
            <a:ext cx="4037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>
                <a:solidFill>
                  <a:schemeClr val="tx2"/>
                </a:solidFill>
              </a:rPr>
              <a:t>4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3C3018D0-B008-42FA-91DB-72AB2834FF88}"/>
              </a:ext>
            </a:extLst>
          </p:cNvPr>
          <p:cNvSpPr txBox="1"/>
          <p:nvPr userDrawn="1"/>
        </p:nvSpPr>
        <p:spPr>
          <a:xfrm>
            <a:off x="6448422" y="5378085"/>
            <a:ext cx="4037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47" name="Text Placeholder 40">
            <a:extLst>
              <a:ext uri="{FF2B5EF4-FFF2-40B4-BE49-F238E27FC236}">
                <a16:creationId xmlns:a16="http://schemas.microsoft.com/office/drawing/2014/main" id="{0E704AC0-604D-4656-ABCD-14D8CA1EDA8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73812" y="1600781"/>
            <a:ext cx="4259262" cy="385763"/>
          </a:xfrm>
        </p:spPr>
        <p:txBody>
          <a:bodyPr>
            <a:noAutofit/>
          </a:bodyPr>
          <a:lstStyle>
            <a:lvl1pPr marL="0" indent="0">
              <a:buNone/>
              <a:defRPr sz="2100">
                <a:solidFill>
                  <a:schemeClr val="accent5"/>
                </a:solidFill>
                <a:latin typeface="+mn-lt"/>
                <a:cs typeface="Arial" panose="020B0604020202020204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>
                <a:latin typeface="+mn-lt"/>
                <a:cs typeface="Arial" panose="020B0604020202020204" pitchFamily="34" charset="0"/>
              </a:rPr>
              <a:t>Text</a:t>
            </a:r>
            <a:endParaRPr lang="en-US"/>
          </a:p>
        </p:txBody>
      </p:sp>
      <p:sp>
        <p:nvSpPr>
          <p:cNvPr id="48" name="Text Placeholder 40">
            <a:extLst>
              <a:ext uri="{FF2B5EF4-FFF2-40B4-BE49-F238E27FC236}">
                <a16:creationId xmlns:a16="http://schemas.microsoft.com/office/drawing/2014/main" id="{5599D860-A03D-4994-8B22-8AD13220167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73812" y="2625008"/>
            <a:ext cx="4259262" cy="385763"/>
          </a:xfrm>
        </p:spPr>
        <p:txBody>
          <a:bodyPr>
            <a:noAutofit/>
          </a:bodyPr>
          <a:lstStyle>
            <a:lvl1pPr marL="0" indent="0">
              <a:buNone/>
              <a:defRPr sz="2100">
                <a:solidFill>
                  <a:schemeClr val="accent5"/>
                </a:solidFill>
                <a:latin typeface="+mn-lt"/>
                <a:cs typeface="Arial" panose="020B0604020202020204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>
                <a:latin typeface="+mn-lt"/>
                <a:cs typeface="Arial" panose="020B0604020202020204" pitchFamily="34" charset="0"/>
              </a:rPr>
              <a:t>Text</a:t>
            </a:r>
            <a:endParaRPr lang="en-US"/>
          </a:p>
        </p:txBody>
      </p:sp>
      <p:sp>
        <p:nvSpPr>
          <p:cNvPr id="49" name="Text Placeholder 40">
            <a:extLst>
              <a:ext uri="{FF2B5EF4-FFF2-40B4-BE49-F238E27FC236}">
                <a16:creationId xmlns:a16="http://schemas.microsoft.com/office/drawing/2014/main" id="{B243E891-A230-4CBA-8278-FA80DFCC63D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3812" y="3598913"/>
            <a:ext cx="4259262" cy="385763"/>
          </a:xfrm>
        </p:spPr>
        <p:txBody>
          <a:bodyPr>
            <a:noAutofit/>
          </a:bodyPr>
          <a:lstStyle>
            <a:lvl1pPr marL="0" indent="0">
              <a:buNone/>
              <a:defRPr sz="2100">
                <a:solidFill>
                  <a:schemeClr val="accent5"/>
                </a:solidFill>
                <a:latin typeface="+mn-lt"/>
                <a:cs typeface="Arial" panose="020B0604020202020204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>
                <a:latin typeface="+mn-lt"/>
                <a:cs typeface="Arial" panose="020B0604020202020204" pitchFamily="34" charset="0"/>
              </a:rPr>
              <a:t>Text</a:t>
            </a:r>
            <a:endParaRPr lang="en-US"/>
          </a:p>
        </p:txBody>
      </p:sp>
      <p:sp>
        <p:nvSpPr>
          <p:cNvPr id="52" name="Text Placeholder 40">
            <a:extLst>
              <a:ext uri="{FF2B5EF4-FFF2-40B4-BE49-F238E27FC236}">
                <a16:creationId xmlns:a16="http://schemas.microsoft.com/office/drawing/2014/main" id="{2571A8D9-22F5-4512-94AB-6D891BAB6B5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73812" y="4616980"/>
            <a:ext cx="4259262" cy="385763"/>
          </a:xfrm>
        </p:spPr>
        <p:txBody>
          <a:bodyPr>
            <a:noAutofit/>
          </a:bodyPr>
          <a:lstStyle>
            <a:lvl1pPr marL="0" indent="0">
              <a:buNone/>
              <a:defRPr sz="2100">
                <a:solidFill>
                  <a:schemeClr val="accent5"/>
                </a:solidFill>
                <a:latin typeface="+mn-lt"/>
                <a:cs typeface="Arial" panose="020B0604020202020204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>
                <a:latin typeface="+mn-lt"/>
                <a:cs typeface="Arial" panose="020B0604020202020204" pitchFamily="34" charset="0"/>
              </a:rPr>
              <a:t>Text</a:t>
            </a:r>
            <a:endParaRPr lang="en-US"/>
          </a:p>
        </p:txBody>
      </p:sp>
      <p:sp>
        <p:nvSpPr>
          <p:cNvPr id="53" name="Text Placeholder 40">
            <a:extLst>
              <a:ext uri="{FF2B5EF4-FFF2-40B4-BE49-F238E27FC236}">
                <a16:creationId xmlns:a16="http://schemas.microsoft.com/office/drawing/2014/main" id="{9512E97C-F763-4E33-9763-295D6B5B5B2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63358" y="5587651"/>
            <a:ext cx="4259262" cy="385763"/>
          </a:xfrm>
        </p:spPr>
        <p:txBody>
          <a:bodyPr>
            <a:noAutofit/>
          </a:bodyPr>
          <a:lstStyle>
            <a:lvl1pPr marL="0" indent="0">
              <a:buNone/>
              <a:defRPr sz="2100">
                <a:solidFill>
                  <a:schemeClr val="accent5"/>
                </a:solidFill>
                <a:latin typeface="+mn-lt"/>
                <a:cs typeface="Arial" panose="020B0604020202020204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>
                <a:latin typeface="+mn-lt"/>
                <a:cs typeface="Arial" panose="020B0604020202020204" pitchFamily="34" charset="0"/>
              </a:rPr>
              <a:t>Tex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67559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3FF9307-27EF-44E6-9120-FB213B3380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854" b="44669"/>
          <a:stretch/>
        </p:blipFill>
        <p:spPr>
          <a:xfrm>
            <a:off x="9197606" y="6427174"/>
            <a:ext cx="2261666" cy="3048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600790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8" name="TextBox 7"/>
          <p:cNvSpPr txBox="1"/>
          <p:nvPr userDrawn="1"/>
        </p:nvSpPr>
        <p:spPr bwMode="auto">
          <a:xfrm>
            <a:off x="721217" y="6311900"/>
            <a:ext cx="9540383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1C243F"/>
                </a:solidFill>
                <a:effectLst/>
                <a:uLnTx/>
                <a:uFillTx/>
                <a:latin typeface="Arial" panose="020B0604020202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</a:b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1C243F"/>
                </a:solidFill>
                <a:effectLst/>
                <a:uLnTx/>
                <a:uFillTx/>
                <a:latin typeface="Arial" panose="020B0604020202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© CereCore® | CONFIDENTIAL – Contains proprietary information. Not intended for distribution.  </a:t>
            </a:r>
          </a:p>
        </p:txBody>
      </p:sp>
      <p:sp>
        <p:nvSpPr>
          <p:cNvPr id="15" name="Rounded Rectangle 14"/>
          <p:cNvSpPr/>
          <p:nvPr userDrawn="1"/>
        </p:nvSpPr>
        <p:spPr>
          <a:xfrm>
            <a:off x="804334" y="3327618"/>
            <a:ext cx="4880964" cy="761107"/>
          </a:xfrm>
          <a:prstGeom prst="roundRect">
            <a:avLst/>
          </a:prstGeom>
          <a:gradFill flip="none" rotWithShape="1">
            <a:gsLst>
              <a:gs pos="0">
                <a:srgbClr val="FFFFFF"/>
              </a:gs>
              <a:gs pos="11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266700" dist="50800" dir="8100000" sx="94000" sy="94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7" name="Rounded Rectangle 16"/>
          <p:cNvSpPr/>
          <p:nvPr userDrawn="1"/>
        </p:nvSpPr>
        <p:spPr>
          <a:xfrm>
            <a:off x="804334" y="2361576"/>
            <a:ext cx="4880964" cy="761107"/>
          </a:xfrm>
          <a:prstGeom prst="roundRect">
            <a:avLst/>
          </a:prstGeom>
          <a:gradFill flip="none" rotWithShape="1">
            <a:gsLst>
              <a:gs pos="0">
                <a:srgbClr val="FFFFFF"/>
              </a:gs>
              <a:gs pos="11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266700" dist="50800" dir="8100000" sx="94000" sy="94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9" name="Rounded Rectangle 18"/>
          <p:cNvSpPr/>
          <p:nvPr userDrawn="1"/>
        </p:nvSpPr>
        <p:spPr>
          <a:xfrm>
            <a:off x="804334" y="1403800"/>
            <a:ext cx="4880964" cy="761107"/>
          </a:xfrm>
          <a:prstGeom prst="roundRect">
            <a:avLst/>
          </a:prstGeom>
          <a:gradFill flip="none" rotWithShape="1">
            <a:gsLst>
              <a:gs pos="0">
                <a:srgbClr val="FFFFFF"/>
              </a:gs>
              <a:gs pos="11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266700" dist="50800" dir="8100000" sx="94000" sy="94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/>
          <p:cNvSpPr txBox="1"/>
          <p:nvPr userDrawn="1"/>
        </p:nvSpPr>
        <p:spPr>
          <a:xfrm>
            <a:off x="838200" y="1461187"/>
            <a:ext cx="4037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33" name="TextBox 32"/>
          <p:cNvSpPr txBox="1"/>
          <p:nvPr userDrawn="1"/>
        </p:nvSpPr>
        <p:spPr>
          <a:xfrm>
            <a:off x="849390" y="2411898"/>
            <a:ext cx="4037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34" name="TextBox 33"/>
          <p:cNvSpPr txBox="1"/>
          <p:nvPr userDrawn="1"/>
        </p:nvSpPr>
        <p:spPr>
          <a:xfrm>
            <a:off x="838200" y="3379899"/>
            <a:ext cx="4037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>
                <a:solidFill>
                  <a:schemeClr val="tx2"/>
                </a:solidFill>
              </a:rPr>
              <a:t>3</a:t>
            </a:r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0" hasCustomPrompt="1"/>
          </p:nvPr>
        </p:nvSpPr>
        <p:spPr>
          <a:xfrm>
            <a:off x="1253136" y="1658170"/>
            <a:ext cx="4259262" cy="385763"/>
          </a:xfrm>
        </p:spPr>
        <p:txBody>
          <a:bodyPr>
            <a:noAutofit/>
          </a:bodyPr>
          <a:lstStyle>
            <a:lvl1pPr marL="0" indent="0">
              <a:buNone/>
              <a:defRPr sz="2100">
                <a:solidFill>
                  <a:schemeClr val="accent5"/>
                </a:solidFill>
                <a:latin typeface="+mn-lt"/>
                <a:cs typeface="Arial" panose="020B0604020202020204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>
                <a:latin typeface="+mn-lt"/>
                <a:cs typeface="Arial" panose="020B0604020202020204" pitchFamily="34" charset="0"/>
              </a:rPr>
              <a:t>Text</a:t>
            </a:r>
            <a:endParaRPr lang="en-US"/>
          </a:p>
        </p:txBody>
      </p:sp>
      <p:sp>
        <p:nvSpPr>
          <p:cNvPr id="42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1253136" y="2624696"/>
            <a:ext cx="4259262" cy="385763"/>
          </a:xfrm>
        </p:spPr>
        <p:txBody>
          <a:bodyPr>
            <a:noAutofit/>
          </a:bodyPr>
          <a:lstStyle>
            <a:lvl1pPr marL="0" indent="0">
              <a:buNone/>
              <a:defRPr sz="2100">
                <a:solidFill>
                  <a:schemeClr val="accent5"/>
                </a:solidFill>
                <a:latin typeface="+mn-lt"/>
                <a:cs typeface="Arial" panose="020B0604020202020204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>
                <a:latin typeface="+mn-lt"/>
                <a:cs typeface="Arial" panose="020B0604020202020204" pitchFamily="34" charset="0"/>
              </a:rPr>
              <a:t>Text</a:t>
            </a:r>
            <a:endParaRPr lang="en-US"/>
          </a:p>
        </p:txBody>
      </p:sp>
      <p:sp>
        <p:nvSpPr>
          <p:cNvPr id="43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1253136" y="3590738"/>
            <a:ext cx="4259262" cy="385763"/>
          </a:xfrm>
        </p:spPr>
        <p:txBody>
          <a:bodyPr>
            <a:noAutofit/>
          </a:bodyPr>
          <a:lstStyle>
            <a:lvl1pPr marL="0" indent="0">
              <a:buNone/>
              <a:defRPr sz="2100">
                <a:solidFill>
                  <a:schemeClr val="accent5"/>
                </a:solidFill>
                <a:latin typeface="+mn-lt"/>
                <a:cs typeface="Arial" panose="020B0604020202020204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>
                <a:latin typeface="+mn-lt"/>
                <a:cs typeface="Arial" panose="020B0604020202020204" pitchFamily="34" charset="0"/>
              </a:rPr>
              <a:t>Text</a:t>
            </a:r>
            <a:endParaRPr lang="en-US"/>
          </a:p>
        </p:txBody>
      </p:sp>
      <p:sp>
        <p:nvSpPr>
          <p:cNvPr id="29" name="Hexagon 28">
            <a:extLst>
              <a:ext uri="{FF2B5EF4-FFF2-40B4-BE49-F238E27FC236}">
                <a16:creationId xmlns:a16="http://schemas.microsoft.com/office/drawing/2014/main" id="{B813A439-9273-414D-B0CB-A69F264E8766}"/>
              </a:ext>
            </a:extLst>
          </p:cNvPr>
          <p:cNvSpPr/>
          <p:nvPr userDrawn="1"/>
        </p:nvSpPr>
        <p:spPr>
          <a:xfrm>
            <a:off x="8765492" y="-74423"/>
            <a:ext cx="3301956" cy="2846513"/>
          </a:xfrm>
          <a:prstGeom prst="hexagon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Hexagon 29">
            <a:extLst>
              <a:ext uri="{FF2B5EF4-FFF2-40B4-BE49-F238E27FC236}">
                <a16:creationId xmlns:a16="http://schemas.microsoft.com/office/drawing/2014/main" id="{3FC4A947-8CD1-409D-A8BC-A0F7F7C85F9F}"/>
              </a:ext>
            </a:extLst>
          </p:cNvPr>
          <p:cNvSpPr/>
          <p:nvPr userDrawn="1"/>
        </p:nvSpPr>
        <p:spPr>
          <a:xfrm>
            <a:off x="10755144" y="2906296"/>
            <a:ext cx="1254809" cy="1054093"/>
          </a:xfrm>
          <a:prstGeom prst="hexagon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Hexagon 30">
            <a:extLst>
              <a:ext uri="{FF2B5EF4-FFF2-40B4-BE49-F238E27FC236}">
                <a16:creationId xmlns:a16="http://schemas.microsoft.com/office/drawing/2014/main" id="{B5C6AA0B-F788-42D5-B203-AB4D15D1AE52}"/>
              </a:ext>
            </a:extLst>
          </p:cNvPr>
          <p:cNvSpPr/>
          <p:nvPr userDrawn="1"/>
        </p:nvSpPr>
        <p:spPr>
          <a:xfrm>
            <a:off x="10935999" y="4684237"/>
            <a:ext cx="893098" cy="769912"/>
          </a:xfrm>
          <a:prstGeom prst="hexagon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Hexagon 39">
            <a:extLst>
              <a:ext uri="{FF2B5EF4-FFF2-40B4-BE49-F238E27FC236}">
                <a16:creationId xmlns:a16="http://schemas.microsoft.com/office/drawing/2014/main" id="{ADFC9828-8AA7-44E3-B694-08FEB98A7300}"/>
              </a:ext>
            </a:extLst>
          </p:cNvPr>
          <p:cNvSpPr/>
          <p:nvPr userDrawn="1"/>
        </p:nvSpPr>
        <p:spPr>
          <a:xfrm>
            <a:off x="9108770" y="2277720"/>
            <a:ext cx="1254809" cy="1054093"/>
          </a:xfrm>
          <a:prstGeom prst="hexagon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Hexagon 44">
            <a:extLst>
              <a:ext uri="{FF2B5EF4-FFF2-40B4-BE49-F238E27FC236}">
                <a16:creationId xmlns:a16="http://schemas.microsoft.com/office/drawing/2014/main" id="{334A1A24-B76D-48B5-ABE5-66034B401F62}"/>
              </a:ext>
            </a:extLst>
          </p:cNvPr>
          <p:cNvSpPr/>
          <p:nvPr userDrawn="1"/>
        </p:nvSpPr>
        <p:spPr>
          <a:xfrm>
            <a:off x="9534692" y="5069193"/>
            <a:ext cx="893098" cy="769912"/>
          </a:xfrm>
          <a:prstGeom prst="hexagon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Hexagon 49">
            <a:extLst>
              <a:ext uri="{FF2B5EF4-FFF2-40B4-BE49-F238E27FC236}">
                <a16:creationId xmlns:a16="http://schemas.microsoft.com/office/drawing/2014/main" id="{21ACA110-85E1-43E5-B1C3-4D43C3E7D5ED}"/>
              </a:ext>
            </a:extLst>
          </p:cNvPr>
          <p:cNvSpPr/>
          <p:nvPr userDrawn="1"/>
        </p:nvSpPr>
        <p:spPr>
          <a:xfrm>
            <a:off x="9555151" y="3060411"/>
            <a:ext cx="1722638" cy="1447089"/>
          </a:xfrm>
          <a:prstGeom prst="hexagon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Hexagon 50">
            <a:extLst>
              <a:ext uri="{FF2B5EF4-FFF2-40B4-BE49-F238E27FC236}">
                <a16:creationId xmlns:a16="http://schemas.microsoft.com/office/drawing/2014/main" id="{A8727BE1-4AC2-48DD-AF2C-8A9ED516BF4D}"/>
              </a:ext>
            </a:extLst>
          </p:cNvPr>
          <p:cNvSpPr/>
          <p:nvPr userDrawn="1"/>
        </p:nvSpPr>
        <p:spPr>
          <a:xfrm>
            <a:off x="8291759" y="4730605"/>
            <a:ext cx="1722638" cy="1447089"/>
          </a:xfrm>
          <a:prstGeom prst="hexagon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ounded Rectangle 14">
            <a:extLst>
              <a:ext uri="{FF2B5EF4-FFF2-40B4-BE49-F238E27FC236}">
                <a16:creationId xmlns:a16="http://schemas.microsoft.com/office/drawing/2014/main" id="{D7E517F6-67E6-4331-B98B-242C55CA72AA}"/>
              </a:ext>
            </a:extLst>
          </p:cNvPr>
          <p:cNvSpPr/>
          <p:nvPr userDrawn="1"/>
        </p:nvSpPr>
        <p:spPr>
          <a:xfrm>
            <a:off x="6325010" y="3335793"/>
            <a:ext cx="4880964" cy="761107"/>
          </a:xfrm>
          <a:prstGeom prst="roundRect">
            <a:avLst/>
          </a:prstGeom>
          <a:gradFill flip="none" rotWithShape="1">
            <a:gsLst>
              <a:gs pos="0">
                <a:srgbClr val="FFFFFF"/>
              </a:gs>
              <a:gs pos="11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266700" dist="50800" dir="8100000" sx="94000" sy="94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6" name="Rounded Rectangle 16">
            <a:extLst>
              <a:ext uri="{FF2B5EF4-FFF2-40B4-BE49-F238E27FC236}">
                <a16:creationId xmlns:a16="http://schemas.microsoft.com/office/drawing/2014/main" id="{D46F9EFB-799B-4DDC-BC48-ADC61C440D50}"/>
              </a:ext>
            </a:extLst>
          </p:cNvPr>
          <p:cNvSpPr/>
          <p:nvPr userDrawn="1"/>
        </p:nvSpPr>
        <p:spPr>
          <a:xfrm>
            <a:off x="6325010" y="2361888"/>
            <a:ext cx="4880964" cy="761107"/>
          </a:xfrm>
          <a:prstGeom prst="roundRect">
            <a:avLst/>
          </a:prstGeom>
          <a:gradFill flip="none" rotWithShape="1">
            <a:gsLst>
              <a:gs pos="0">
                <a:srgbClr val="FFFFFF"/>
              </a:gs>
              <a:gs pos="11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266700" dist="50800" dir="8100000" sx="94000" sy="94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7" name="Rounded Rectangle 18">
            <a:extLst>
              <a:ext uri="{FF2B5EF4-FFF2-40B4-BE49-F238E27FC236}">
                <a16:creationId xmlns:a16="http://schemas.microsoft.com/office/drawing/2014/main" id="{A04F4157-5CA8-43F3-B169-EF4779502838}"/>
              </a:ext>
            </a:extLst>
          </p:cNvPr>
          <p:cNvSpPr/>
          <p:nvPr userDrawn="1"/>
        </p:nvSpPr>
        <p:spPr>
          <a:xfrm>
            <a:off x="6325010" y="1346411"/>
            <a:ext cx="4880964" cy="761107"/>
          </a:xfrm>
          <a:prstGeom prst="roundRect">
            <a:avLst/>
          </a:prstGeom>
          <a:gradFill flip="none" rotWithShape="1">
            <a:gsLst>
              <a:gs pos="0">
                <a:srgbClr val="FFFFFF"/>
              </a:gs>
              <a:gs pos="11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266700" dist="50800" dir="8100000" sx="94000" sy="94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716D12D-DAB2-49CE-BC78-DC0B4BB55CF9}"/>
              </a:ext>
            </a:extLst>
          </p:cNvPr>
          <p:cNvSpPr txBox="1"/>
          <p:nvPr userDrawn="1"/>
        </p:nvSpPr>
        <p:spPr>
          <a:xfrm>
            <a:off x="6358876" y="1403798"/>
            <a:ext cx="4037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A657D51-6F20-4F66-B8B8-F492A262F850}"/>
              </a:ext>
            </a:extLst>
          </p:cNvPr>
          <p:cNvSpPr txBox="1"/>
          <p:nvPr userDrawn="1"/>
        </p:nvSpPr>
        <p:spPr>
          <a:xfrm>
            <a:off x="6370066" y="2412210"/>
            <a:ext cx="4037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9EDEB0A-6DFC-4C52-A53C-5E400F3B863D}"/>
              </a:ext>
            </a:extLst>
          </p:cNvPr>
          <p:cNvSpPr txBox="1"/>
          <p:nvPr userDrawn="1"/>
        </p:nvSpPr>
        <p:spPr>
          <a:xfrm>
            <a:off x="6358876" y="3388074"/>
            <a:ext cx="4037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>
                <a:solidFill>
                  <a:schemeClr val="tx2"/>
                </a:solidFill>
              </a:rPr>
              <a:t>3</a:t>
            </a:r>
          </a:p>
        </p:txBody>
      </p:sp>
      <p:sp>
        <p:nvSpPr>
          <p:cNvPr id="47" name="Text Placeholder 40">
            <a:extLst>
              <a:ext uri="{FF2B5EF4-FFF2-40B4-BE49-F238E27FC236}">
                <a16:creationId xmlns:a16="http://schemas.microsoft.com/office/drawing/2014/main" id="{0E704AC0-604D-4656-ABCD-14D8CA1EDA8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73812" y="1600781"/>
            <a:ext cx="4259262" cy="385763"/>
          </a:xfrm>
        </p:spPr>
        <p:txBody>
          <a:bodyPr>
            <a:noAutofit/>
          </a:bodyPr>
          <a:lstStyle>
            <a:lvl1pPr marL="0" indent="0">
              <a:buNone/>
              <a:defRPr sz="2100">
                <a:solidFill>
                  <a:schemeClr val="accent5"/>
                </a:solidFill>
                <a:latin typeface="+mn-lt"/>
                <a:cs typeface="Arial" panose="020B0604020202020204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>
                <a:latin typeface="+mn-lt"/>
                <a:cs typeface="Arial" panose="020B0604020202020204" pitchFamily="34" charset="0"/>
              </a:rPr>
              <a:t>Text</a:t>
            </a:r>
            <a:endParaRPr lang="en-US"/>
          </a:p>
        </p:txBody>
      </p:sp>
      <p:sp>
        <p:nvSpPr>
          <p:cNvPr id="48" name="Text Placeholder 40">
            <a:extLst>
              <a:ext uri="{FF2B5EF4-FFF2-40B4-BE49-F238E27FC236}">
                <a16:creationId xmlns:a16="http://schemas.microsoft.com/office/drawing/2014/main" id="{5599D860-A03D-4994-8B22-8AD13220167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73812" y="2625008"/>
            <a:ext cx="4259262" cy="385763"/>
          </a:xfrm>
        </p:spPr>
        <p:txBody>
          <a:bodyPr>
            <a:noAutofit/>
          </a:bodyPr>
          <a:lstStyle>
            <a:lvl1pPr marL="0" indent="0">
              <a:buNone/>
              <a:defRPr sz="2100">
                <a:solidFill>
                  <a:schemeClr val="accent5"/>
                </a:solidFill>
                <a:latin typeface="+mn-lt"/>
                <a:cs typeface="Arial" panose="020B0604020202020204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>
                <a:latin typeface="+mn-lt"/>
                <a:cs typeface="Arial" panose="020B0604020202020204" pitchFamily="34" charset="0"/>
              </a:rPr>
              <a:t>Text</a:t>
            </a:r>
            <a:endParaRPr lang="en-US"/>
          </a:p>
        </p:txBody>
      </p:sp>
      <p:sp>
        <p:nvSpPr>
          <p:cNvPr id="49" name="Text Placeholder 40">
            <a:extLst>
              <a:ext uri="{FF2B5EF4-FFF2-40B4-BE49-F238E27FC236}">
                <a16:creationId xmlns:a16="http://schemas.microsoft.com/office/drawing/2014/main" id="{B243E891-A230-4CBA-8278-FA80DFCC63D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3812" y="3598913"/>
            <a:ext cx="4259262" cy="385763"/>
          </a:xfrm>
        </p:spPr>
        <p:txBody>
          <a:bodyPr>
            <a:noAutofit/>
          </a:bodyPr>
          <a:lstStyle>
            <a:lvl1pPr marL="0" indent="0">
              <a:buNone/>
              <a:defRPr sz="2100">
                <a:solidFill>
                  <a:schemeClr val="accent5"/>
                </a:solidFill>
                <a:latin typeface="+mn-lt"/>
                <a:cs typeface="Arial" panose="020B0604020202020204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>
                <a:latin typeface="+mn-lt"/>
                <a:cs typeface="Arial" panose="020B0604020202020204" pitchFamily="34" charset="0"/>
              </a:rPr>
              <a:t>Tex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401041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3FF9307-27EF-44E6-9120-FB213B3380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854" b="44669"/>
          <a:stretch/>
        </p:blipFill>
        <p:spPr>
          <a:xfrm>
            <a:off x="9197606" y="6427174"/>
            <a:ext cx="2261666" cy="3048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600790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8" name="TextBox 7"/>
          <p:cNvSpPr txBox="1"/>
          <p:nvPr userDrawn="1"/>
        </p:nvSpPr>
        <p:spPr bwMode="auto">
          <a:xfrm>
            <a:off x="721217" y="6311900"/>
            <a:ext cx="9540383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1C243F"/>
                </a:solidFill>
                <a:effectLst/>
                <a:uLnTx/>
                <a:uFillTx/>
                <a:latin typeface="Arial" panose="020B0604020202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</a:b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1C243F"/>
                </a:solidFill>
                <a:effectLst/>
                <a:uLnTx/>
                <a:uFillTx/>
                <a:latin typeface="Arial" panose="020B0604020202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© CereCore® | CONFIDENTIAL – Contains proprietary information. Not intended for distribution.  </a:t>
            </a:r>
          </a:p>
        </p:txBody>
      </p:sp>
      <p:sp>
        <p:nvSpPr>
          <p:cNvPr id="19" name="Rounded Rectangle 18"/>
          <p:cNvSpPr/>
          <p:nvPr userDrawn="1"/>
        </p:nvSpPr>
        <p:spPr>
          <a:xfrm>
            <a:off x="804334" y="1595970"/>
            <a:ext cx="4880964" cy="873920"/>
          </a:xfrm>
          <a:prstGeom prst="roundRect">
            <a:avLst/>
          </a:prstGeom>
          <a:gradFill flip="none" rotWithShape="1">
            <a:gsLst>
              <a:gs pos="0">
                <a:srgbClr val="FFFFFF"/>
              </a:gs>
              <a:gs pos="11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266700" dist="50800" dir="8100000" sx="94000" sy="94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/>
          <p:cNvSpPr txBox="1"/>
          <p:nvPr userDrawn="1"/>
        </p:nvSpPr>
        <p:spPr>
          <a:xfrm>
            <a:off x="838200" y="1728172"/>
            <a:ext cx="4037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0" hasCustomPrompt="1"/>
          </p:nvPr>
        </p:nvSpPr>
        <p:spPr>
          <a:xfrm>
            <a:off x="1253136" y="1850340"/>
            <a:ext cx="4259262" cy="385763"/>
          </a:xfrm>
        </p:spPr>
        <p:txBody>
          <a:bodyPr>
            <a:noAutofit/>
          </a:bodyPr>
          <a:lstStyle>
            <a:lvl1pPr marL="0" indent="0">
              <a:buNone/>
              <a:defRPr sz="2100">
                <a:solidFill>
                  <a:schemeClr val="accent5"/>
                </a:solidFill>
                <a:latin typeface="+mn-lt"/>
                <a:cs typeface="Arial" panose="020B0604020202020204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>
                <a:latin typeface="+mn-lt"/>
                <a:cs typeface="Arial" panose="020B0604020202020204" pitchFamily="34" charset="0"/>
              </a:rPr>
              <a:t>Text</a:t>
            </a:r>
            <a:endParaRPr lang="en-US"/>
          </a:p>
        </p:txBody>
      </p:sp>
      <p:sp>
        <p:nvSpPr>
          <p:cNvPr id="29" name="Hexagon 28">
            <a:extLst>
              <a:ext uri="{FF2B5EF4-FFF2-40B4-BE49-F238E27FC236}">
                <a16:creationId xmlns:a16="http://schemas.microsoft.com/office/drawing/2014/main" id="{B813A439-9273-414D-B0CB-A69F264E8766}"/>
              </a:ext>
            </a:extLst>
          </p:cNvPr>
          <p:cNvSpPr/>
          <p:nvPr userDrawn="1"/>
        </p:nvSpPr>
        <p:spPr>
          <a:xfrm>
            <a:off x="8765492" y="-74423"/>
            <a:ext cx="3301956" cy="2846513"/>
          </a:xfrm>
          <a:prstGeom prst="hexagon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Hexagon 29">
            <a:extLst>
              <a:ext uri="{FF2B5EF4-FFF2-40B4-BE49-F238E27FC236}">
                <a16:creationId xmlns:a16="http://schemas.microsoft.com/office/drawing/2014/main" id="{3FC4A947-8CD1-409D-A8BC-A0F7F7C85F9F}"/>
              </a:ext>
            </a:extLst>
          </p:cNvPr>
          <p:cNvSpPr/>
          <p:nvPr userDrawn="1"/>
        </p:nvSpPr>
        <p:spPr>
          <a:xfrm>
            <a:off x="10755144" y="2906296"/>
            <a:ext cx="1254809" cy="1054093"/>
          </a:xfrm>
          <a:prstGeom prst="hexagon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Hexagon 30">
            <a:extLst>
              <a:ext uri="{FF2B5EF4-FFF2-40B4-BE49-F238E27FC236}">
                <a16:creationId xmlns:a16="http://schemas.microsoft.com/office/drawing/2014/main" id="{B5C6AA0B-F788-42D5-B203-AB4D15D1AE52}"/>
              </a:ext>
            </a:extLst>
          </p:cNvPr>
          <p:cNvSpPr/>
          <p:nvPr userDrawn="1"/>
        </p:nvSpPr>
        <p:spPr>
          <a:xfrm>
            <a:off x="10935999" y="4684237"/>
            <a:ext cx="893098" cy="769912"/>
          </a:xfrm>
          <a:prstGeom prst="hexagon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Hexagon 39">
            <a:extLst>
              <a:ext uri="{FF2B5EF4-FFF2-40B4-BE49-F238E27FC236}">
                <a16:creationId xmlns:a16="http://schemas.microsoft.com/office/drawing/2014/main" id="{ADFC9828-8AA7-44E3-B694-08FEB98A7300}"/>
              </a:ext>
            </a:extLst>
          </p:cNvPr>
          <p:cNvSpPr/>
          <p:nvPr userDrawn="1"/>
        </p:nvSpPr>
        <p:spPr>
          <a:xfrm>
            <a:off x="9108770" y="2277720"/>
            <a:ext cx="1254809" cy="1054093"/>
          </a:xfrm>
          <a:prstGeom prst="hexagon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Hexagon 44">
            <a:extLst>
              <a:ext uri="{FF2B5EF4-FFF2-40B4-BE49-F238E27FC236}">
                <a16:creationId xmlns:a16="http://schemas.microsoft.com/office/drawing/2014/main" id="{334A1A24-B76D-48B5-ABE5-66034B401F62}"/>
              </a:ext>
            </a:extLst>
          </p:cNvPr>
          <p:cNvSpPr/>
          <p:nvPr userDrawn="1"/>
        </p:nvSpPr>
        <p:spPr>
          <a:xfrm>
            <a:off x="9534692" y="5069193"/>
            <a:ext cx="893098" cy="769912"/>
          </a:xfrm>
          <a:prstGeom prst="hexagon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Hexagon 49">
            <a:extLst>
              <a:ext uri="{FF2B5EF4-FFF2-40B4-BE49-F238E27FC236}">
                <a16:creationId xmlns:a16="http://schemas.microsoft.com/office/drawing/2014/main" id="{21ACA110-85E1-43E5-B1C3-4D43C3E7D5ED}"/>
              </a:ext>
            </a:extLst>
          </p:cNvPr>
          <p:cNvSpPr/>
          <p:nvPr userDrawn="1"/>
        </p:nvSpPr>
        <p:spPr>
          <a:xfrm>
            <a:off x="9555151" y="3060411"/>
            <a:ext cx="1722638" cy="1447089"/>
          </a:xfrm>
          <a:prstGeom prst="hexagon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Hexagon 50">
            <a:extLst>
              <a:ext uri="{FF2B5EF4-FFF2-40B4-BE49-F238E27FC236}">
                <a16:creationId xmlns:a16="http://schemas.microsoft.com/office/drawing/2014/main" id="{A8727BE1-4AC2-48DD-AF2C-8A9ED516BF4D}"/>
              </a:ext>
            </a:extLst>
          </p:cNvPr>
          <p:cNvSpPr/>
          <p:nvPr userDrawn="1"/>
        </p:nvSpPr>
        <p:spPr>
          <a:xfrm>
            <a:off x="8291759" y="4730605"/>
            <a:ext cx="1722638" cy="1447089"/>
          </a:xfrm>
          <a:prstGeom prst="hexagon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ounded Rectangle 18">
            <a:extLst>
              <a:ext uri="{FF2B5EF4-FFF2-40B4-BE49-F238E27FC236}">
                <a16:creationId xmlns:a16="http://schemas.microsoft.com/office/drawing/2014/main" id="{A04F4157-5CA8-43F3-B169-EF4779502838}"/>
              </a:ext>
            </a:extLst>
          </p:cNvPr>
          <p:cNvSpPr/>
          <p:nvPr userDrawn="1"/>
        </p:nvSpPr>
        <p:spPr>
          <a:xfrm>
            <a:off x="6325010" y="1538581"/>
            <a:ext cx="4880964" cy="931309"/>
          </a:xfrm>
          <a:prstGeom prst="roundRect">
            <a:avLst/>
          </a:prstGeom>
          <a:gradFill flip="none" rotWithShape="1">
            <a:gsLst>
              <a:gs pos="0">
                <a:srgbClr val="FFFFFF"/>
              </a:gs>
              <a:gs pos="11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266700" dist="50800" dir="8100000" sx="94000" sy="94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40">
            <a:extLst>
              <a:ext uri="{FF2B5EF4-FFF2-40B4-BE49-F238E27FC236}">
                <a16:creationId xmlns:a16="http://schemas.microsoft.com/office/drawing/2014/main" id="{0E704AC0-604D-4656-ABCD-14D8CA1EDA8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73812" y="1792951"/>
            <a:ext cx="4259262" cy="385763"/>
          </a:xfrm>
        </p:spPr>
        <p:txBody>
          <a:bodyPr>
            <a:noAutofit/>
          </a:bodyPr>
          <a:lstStyle>
            <a:lvl1pPr marL="0" indent="0">
              <a:buNone/>
              <a:defRPr sz="2100">
                <a:solidFill>
                  <a:schemeClr val="accent5"/>
                </a:solidFill>
                <a:latin typeface="+mn-lt"/>
                <a:cs typeface="Arial" panose="020B0604020202020204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>
                <a:latin typeface="+mn-lt"/>
                <a:cs typeface="Arial" panose="020B0604020202020204" pitchFamily="34" charset="0"/>
              </a:rPr>
              <a:t>Text</a:t>
            </a:r>
            <a:endParaRPr lang="en-US"/>
          </a:p>
        </p:txBody>
      </p:sp>
      <p:sp>
        <p:nvSpPr>
          <p:cNvPr id="35" name="Rounded Rectangle 18">
            <a:extLst>
              <a:ext uri="{FF2B5EF4-FFF2-40B4-BE49-F238E27FC236}">
                <a16:creationId xmlns:a16="http://schemas.microsoft.com/office/drawing/2014/main" id="{EED117E5-D9F2-4585-9578-31943F877439}"/>
              </a:ext>
            </a:extLst>
          </p:cNvPr>
          <p:cNvSpPr/>
          <p:nvPr userDrawn="1"/>
        </p:nvSpPr>
        <p:spPr>
          <a:xfrm>
            <a:off x="838200" y="2795350"/>
            <a:ext cx="4880964" cy="873920"/>
          </a:xfrm>
          <a:prstGeom prst="roundRect">
            <a:avLst/>
          </a:prstGeom>
          <a:gradFill flip="none" rotWithShape="1">
            <a:gsLst>
              <a:gs pos="0">
                <a:srgbClr val="FFFFFF"/>
              </a:gs>
              <a:gs pos="11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266700" dist="50800" dir="8100000" sx="94000" sy="94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EB418CCA-6310-40A0-AEF0-890AAE971F4E}"/>
              </a:ext>
            </a:extLst>
          </p:cNvPr>
          <p:cNvSpPr txBox="1"/>
          <p:nvPr userDrawn="1"/>
        </p:nvSpPr>
        <p:spPr>
          <a:xfrm>
            <a:off x="872066" y="2927552"/>
            <a:ext cx="4037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44" name="Text Placeholder 40">
            <a:extLst>
              <a:ext uri="{FF2B5EF4-FFF2-40B4-BE49-F238E27FC236}">
                <a16:creationId xmlns:a16="http://schemas.microsoft.com/office/drawing/2014/main" id="{74D3CA3B-51F9-4E91-815A-E54EF6EADAC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87002" y="3049720"/>
            <a:ext cx="4259262" cy="385763"/>
          </a:xfrm>
        </p:spPr>
        <p:txBody>
          <a:bodyPr>
            <a:noAutofit/>
          </a:bodyPr>
          <a:lstStyle>
            <a:lvl1pPr marL="0" indent="0">
              <a:buNone/>
              <a:defRPr sz="2100">
                <a:solidFill>
                  <a:schemeClr val="accent5"/>
                </a:solidFill>
                <a:latin typeface="+mn-lt"/>
                <a:cs typeface="Arial" panose="020B0604020202020204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>
                <a:latin typeface="+mn-lt"/>
                <a:cs typeface="Arial" panose="020B0604020202020204" pitchFamily="34" charset="0"/>
              </a:rPr>
              <a:t>Text</a:t>
            </a:r>
            <a:endParaRPr lang="en-US"/>
          </a:p>
        </p:txBody>
      </p:sp>
      <p:sp>
        <p:nvSpPr>
          <p:cNvPr id="46" name="Rounded Rectangle 18">
            <a:extLst>
              <a:ext uri="{FF2B5EF4-FFF2-40B4-BE49-F238E27FC236}">
                <a16:creationId xmlns:a16="http://schemas.microsoft.com/office/drawing/2014/main" id="{CE68FD4A-EE00-4EE1-BDC2-BD691BC42389}"/>
              </a:ext>
            </a:extLst>
          </p:cNvPr>
          <p:cNvSpPr/>
          <p:nvPr userDrawn="1"/>
        </p:nvSpPr>
        <p:spPr>
          <a:xfrm>
            <a:off x="6358876" y="2737961"/>
            <a:ext cx="4880964" cy="931309"/>
          </a:xfrm>
          <a:prstGeom prst="roundRect">
            <a:avLst/>
          </a:prstGeom>
          <a:gradFill flip="none" rotWithShape="1">
            <a:gsLst>
              <a:gs pos="0">
                <a:srgbClr val="FFFFFF"/>
              </a:gs>
              <a:gs pos="11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266700" dist="50800" dir="8100000" sx="94000" sy="94000" algn="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Text Placeholder 40">
            <a:extLst>
              <a:ext uri="{FF2B5EF4-FFF2-40B4-BE49-F238E27FC236}">
                <a16:creationId xmlns:a16="http://schemas.microsoft.com/office/drawing/2014/main" id="{9E970B7D-541B-4692-BC9B-591FA083855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07678" y="2992331"/>
            <a:ext cx="4259262" cy="385763"/>
          </a:xfrm>
        </p:spPr>
        <p:txBody>
          <a:bodyPr>
            <a:noAutofit/>
          </a:bodyPr>
          <a:lstStyle>
            <a:lvl1pPr marL="0" indent="0">
              <a:buNone/>
              <a:defRPr sz="2100">
                <a:solidFill>
                  <a:schemeClr val="accent5"/>
                </a:solidFill>
                <a:latin typeface="+mn-lt"/>
                <a:cs typeface="Arial" panose="020B0604020202020204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>
                <a:latin typeface="+mn-lt"/>
                <a:cs typeface="Arial" panose="020B0604020202020204" pitchFamily="34" charset="0"/>
              </a:rPr>
              <a:t>Text</a:t>
            </a:r>
            <a:endParaRPr lang="en-US"/>
          </a:p>
        </p:txBody>
      </p:sp>
      <p:sp>
        <p:nvSpPr>
          <p:cNvPr id="3" name="Isosceles Triangle 2">
            <a:extLst>
              <a:ext uri="{FF2B5EF4-FFF2-40B4-BE49-F238E27FC236}">
                <a16:creationId xmlns:a16="http://schemas.microsoft.com/office/drawing/2014/main" id="{F7EC88D4-7A44-4831-A1D2-D271442D49E7}"/>
              </a:ext>
            </a:extLst>
          </p:cNvPr>
          <p:cNvSpPr/>
          <p:nvPr userDrawn="1"/>
        </p:nvSpPr>
        <p:spPr>
          <a:xfrm rot="5400000">
            <a:off x="5787665" y="1856871"/>
            <a:ext cx="407323" cy="351141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3" name="Isosceles Triangle 52">
            <a:extLst>
              <a:ext uri="{FF2B5EF4-FFF2-40B4-BE49-F238E27FC236}">
                <a16:creationId xmlns:a16="http://schemas.microsoft.com/office/drawing/2014/main" id="{219CDFA2-899C-4A8C-B6C9-D2BA260036FA}"/>
              </a:ext>
            </a:extLst>
          </p:cNvPr>
          <p:cNvSpPr/>
          <p:nvPr userDrawn="1"/>
        </p:nvSpPr>
        <p:spPr>
          <a:xfrm rot="5400000">
            <a:off x="5791179" y="3085357"/>
            <a:ext cx="407323" cy="351141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1263455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er BI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49" r="20870"/>
          <a:stretch/>
        </p:blipFill>
        <p:spPr>
          <a:xfrm rot="10800000" flipV="1">
            <a:off x="-13253" y="-1"/>
            <a:ext cx="12258262" cy="695459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A362F3C-F3A8-4984-8885-C1EBE80307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477"/>
          <a:stretch/>
        </p:blipFill>
        <p:spPr>
          <a:xfrm>
            <a:off x="4607656" y="5168934"/>
            <a:ext cx="2847794" cy="1385526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773753" y="585260"/>
            <a:ext cx="10515600" cy="600790"/>
          </a:xfrm>
        </p:spPr>
        <p:txBody>
          <a:bodyPr>
            <a:normAutofit/>
          </a:bodyPr>
          <a:lstStyle>
            <a:lvl1pPr>
              <a:defRPr sz="2800" b="1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BOUT THE PRESENTERS</a:t>
            </a:r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0D66E28E-18A9-4C16-AFF9-217839219F1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38200" y="1778012"/>
            <a:ext cx="1944687" cy="2650508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0D66E28E-18A9-4C16-AFF9-217839219F1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51885" y="1777041"/>
            <a:ext cx="1944687" cy="2650508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2931486" y="1778012"/>
            <a:ext cx="2971800" cy="2649537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800100" indent="-342900">
              <a:buClr>
                <a:schemeClr val="tx1"/>
              </a:buClr>
              <a:buFont typeface="Arial" panose="020B0604020202020204" pitchFamily="34" charset="0"/>
              <a:buChar char="•"/>
              <a:defRPr sz="18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914400" indent="0">
              <a:buNone/>
              <a:defRPr/>
            </a:lvl3pPr>
          </a:lstStyle>
          <a:p>
            <a:pPr lvl="0"/>
            <a:r>
              <a:rPr lang="en-US"/>
              <a:t>Name</a:t>
            </a:r>
          </a:p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About </a:t>
            </a:r>
          </a:p>
          <a:p>
            <a:pPr lvl="1"/>
            <a:r>
              <a:rPr lang="en-US"/>
              <a:t>About</a:t>
            </a:r>
          </a:p>
          <a:p>
            <a:pPr lvl="1"/>
            <a:r>
              <a:rPr lang="en-US"/>
              <a:t>About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145171" y="1771312"/>
            <a:ext cx="3171491" cy="2649537"/>
          </a:xfrm>
        </p:spPr>
        <p:txBody>
          <a:bodyPr/>
          <a:lstStyle>
            <a:lvl1pPr marL="0" indent="0">
              <a:buNone/>
              <a:defRPr lang="en-US" sz="20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indent="-342900">
              <a:buFont typeface="Arial" panose="020B0604020202020204" pitchFamily="34" charset="0"/>
              <a:buChar char="•"/>
              <a:defRPr lang="en-US" sz="1800" kern="1200" dirty="0" smtClean="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914400" indent="0">
              <a:buNone/>
              <a:defRPr/>
            </a:lvl3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Name</a:t>
            </a:r>
          </a:p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Title</a:t>
            </a:r>
          </a:p>
          <a:p>
            <a:pPr lvl="1"/>
            <a:r>
              <a:rPr lang="en-US"/>
              <a:t>About </a:t>
            </a:r>
          </a:p>
          <a:p>
            <a:pPr lvl="1"/>
            <a:r>
              <a:rPr lang="en-US"/>
              <a:t>About</a:t>
            </a:r>
          </a:p>
          <a:p>
            <a:pPr lvl="1"/>
            <a:r>
              <a:rPr lang="en-US"/>
              <a:t>About</a:t>
            </a:r>
          </a:p>
        </p:txBody>
      </p:sp>
    </p:spTree>
    <p:extLst>
      <p:ext uri="{BB962C8B-B14F-4D97-AF65-F5344CB8AC3E}">
        <p14:creationId xmlns:p14="http://schemas.microsoft.com/office/powerpoint/2010/main" val="981874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resenter BI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49" r="20870"/>
          <a:stretch/>
        </p:blipFill>
        <p:spPr>
          <a:xfrm rot="10800000" flipV="1">
            <a:off x="-13253" y="-1"/>
            <a:ext cx="12258262" cy="695459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A362F3C-F3A8-4984-8885-C1EBE80307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477"/>
          <a:stretch/>
        </p:blipFill>
        <p:spPr>
          <a:xfrm>
            <a:off x="4607656" y="5418313"/>
            <a:ext cx="2847794" cy="1385526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773753" y="585260"/>
            <a:ext cx="10515600" cy="600790"/>
          </a:xfrm>
        </p:spPr>
        <p:txBody>
          <a:bodyPr>
            <a:normAutofit/>
          </a:bodyPr>
          <a:lstStyle>
            <a:lvl1pPr>
              <a:defRPr sz="2800" b="1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BOUT THE PRESENTERS</a:t>
            </a:r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0D66E28E-18A9-4C16-AFF9-217839219F1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37876" y="1407013"/>
            <a:ext cx="2398354" cy="2627732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0D66E28E-18A9-4C16-AFF9-217839219F1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832376" y="1442589"/>
            <a:ext cx="2398354" cy="2627732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537876" y="4161039"/>
            <a:ext cx="2398354" cy="959603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Clr>
                <a:schemeClr val="tx1"/>
              </a:buClr>
              <a:buFont typeface="Arial" panose="020B0604020202020204" pitchFamily="34" charset="0"/>
              <a:buNone/>
              <a:defRPr sz="18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914400" indent="0">
              <a:buNone/>
              <a:defRPr/>
            </a:lvl3pPr>
          </a:lstStyle>
          <a:p>
            <a:pPr lvl="0"/>
            <a:r>
              <a:rPr lang="en-US"/>
              <a:t>Name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80CE2C62-0A23-4334-8D90-3CFA0797EBA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6876" y="1442589"/>
            <a:ext cx="2398354" cy="2627732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414A8E8C-DBAF-43BD-83BA-A7811DCA9B8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32376" y="4161039"/>
            <a:ext cx="2398354" cy="959603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Clr>
                <a:schemeClr val="tx1"/>
              </a:buClr>
              <a:buFont typeface="Arial" panose="020B0604020202020204" pitchFamily="34" charset="0"/>
              <a:buNone/>
              <a:defRPr sz="18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914400" indent="0">
              <a:buNone/>
              <a:defRPr/>
            </a:lvl3pPr>
          </a:lstStyle>
          <a:p>
            <a:pPr lvl="0"/>
            <a:r>
              <a:rPr lang="en-US"/>
              <a:t>Name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BE3E67BD-F104-4456-A0E5-9254317A993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26876" y="4161039"/>
            <a:ext cx="2398354" cy="959603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Clr>
                <a:schemeClr val="tx1"/>
              </a:buClr>
              <a:buFont typeface="Arial" panose="020B0604020202020204" pitchFamily="34" charset="0"/>
              <a:buNone/>
              <a:defRPr sz="18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914400" indent="0">
              <a:buNone/>
              <a:defRPr/>
            </a:lvl3pPr>
          </a:lstStyle>
          <a:p>
            <a:pPr lvl="0"/>
            <a:r>
              <a:rPr lang="en-US"/>
              <a:t>Name</a:t>
            </a:r>
          </a:p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3376586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esenter BI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49" r="20870"/>
          <a:stretch/>
        </p:blipFill>
        <p:spPr>
          <a:xfrm rot="10800000" flipV="1">
            <a:off x="-13253" y="-1"/>
            <a:ext cx="12258262" cy="695459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A362F3C-F3A8-4984-8885-C1EBE80307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477"/>
          <a:stretch/>
        </p:blipFill>
        <p:spPr>
          <a:xfrm>
            <a:off x="4607656" y="5168934"/>
            <a:ext cx="2847794" cy="1385526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773753" y="585260"/>
            <a:ext cx="10515600" cy="600790"/>
          </a:xfrm>
        </p:spPr>
        <p:txBody>
          <a:bodyPr>
            <a:normAutofit/>
          </a:bodyPr>
          <a:lstStyle>
            <a:lvl1pPr>
              <a:defRPr sz="2800" b="1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BOUT THE PRESENTERS</a:t>
            </a:r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0D66E28E-18A9-4C16-AFF9-217839219F1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38201" y="1778012"/>
            <a:ext cx="2219036" cy="2650508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430250" y="1778983"/>
            <a:ext cx="4025200" cy="2649537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800100" indent="-342900">
              <a:buClr>
                <a:schemeClr val="tx1"/>
              </a:buClr>
              <a:buFont typeface="Arial" panose="020B0604020202020204" pitchFamily="34" charset="0"/>
              <a:buChar char="•"/>
              <a:defRPr sz="18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914400" indent="0">
              <a:buNone/>
              <a:defRPr/>
            </a:lvl3pPr>
          </a:lstStyle>
          <a:p>
            <a:pPr lvl="0"/>
            <a:r>
              <a:rPr lang="en-US"/>
              <a:t>Name</a:t>
            </a:r>
          </a:p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About </a:t>
            </a:r>
          </a:p>
          <a:p>
            <a:pPr lvl="1"/>
            <a:r>
              <a:rPr lang="en-US"/>
              <a:t>About</a:t>
            </a:r>
          </a:p>
          <a:p>
            <a:pPr lvl="1"/>
            <a:r>
              <a:rPr lang="en-US"/>
              <a:t>About</a:t>
            </a:r>
          </a:p>
        </p:txBody>
      </p:sp>
    </p:spTree>
    <p:extLst>
      <p:ext uri="{BB962C8B-B14F-4D97-AF65-F5344CB8AC3E}">
        <p14:creationId xmlns:p14="http://schemas.microsoft.com/office/powerpoint/2010/main" val="40843278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resenter BI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49" r="20870"/>
          <a:stretch/>
        </p:blipFill>
        <p:spPr>
          <a:xfrm rot="10800000" flipV="1">
            <a:off x="-13253" y="-1"/>
            <a:ext cx="12258262" cy="695459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A362F3C-F3A8-4984-8885-C1EBE80307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477"/>
          <a:stretch/>
        </p:blipFill>
        <p:spPr>
          <a:xfrm>
            <a:off x="4607656" y="5168934"/>
            <a:ext cx="2847794" cy="1385526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773753" y="585260"/>
            <a:ext cx="10515600" cy="600790"/>
          </a:xfrm>
        </p:spPr>
        <p:txBody>
          <a:bodyPr>
            <a:normAutofit/>
          </a:bodyPr>
          <a:lstStyle>
            <a:lvl1pPr>
              <a:defRPr sz="2800" b="1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BOUT THE PRESENTERS</a:t>
            </a:r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0D66E28E-18A9-4C16-AFF9-217839219F1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38201" y="1778012"/>
            <a:ext cx="2219036" cy="2650508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430250" y="1778983"/>
            <a:ext cx="4025200" cy="2649537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800100" indent="-342900">
              <a:buClr>
                <a:schemeClr val="tx1"/>
              </a:buClr>
              <a:buFont typeface="Arial" panose="020B0604020202020204" pitchFamily="34" charset="0"/>
              <a:buChar char="•"/>
              <a:defRPr sz="18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914400" indent="0">
              <a:buNone/>
              <a:defRPr/>
            </a:lvl3pPr>
          </a:lstStyle>
          <a:p>
            <a:pPr lvl="0"/>
            <a:r>
              <a:rPr lang="en-US"/>
              <a:t>Name</a:t>
            </a:r>
          </a:p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About </a:t>
            </a:r>
          </a:p>
          <a:p>
            <a:pPr lvl="1"/>
            <a:r>
              <a:rPr lang="en-US"/>
              <a:t>About</a:t>
            </a:r>
          </a:p>
          <a:p>
            <a:pPr lvl="1"/>
            <a:r>
              <a:rPr lang="en-US"/>
              <a:t>About</a:t>
            </a:r>
          </a:p>
        </p:txBody>
      </p:sp>
      <p:sp>
        <p:nvSpPr>
          <p:cNvPr id="7" name="Round Single Corner Rectangle 4">
            <a:extLst>
              <a:ext uri="{FF2B5EF4-FFF2-40B4-BE49-F238E27FC236}">
                <a16:creationId xmlns:a16="http://schemas.microsoft.com/office/drawing/2014/main" id="{5918938A-BD2A-43B0-91BD-2282ECC2DD66}"/>
              </a:ext>
            </a:extLst>
          </p:cNvPr>
          <p:cNvSpPr/>
          <p:nvPr userDrawn="1"/>
        </p:nvSpPr>
        <p:spPr>
          <a:xfrm rot="10800000">
            <a:off x="7678145" y="-4"/>
            <a:ext cx="4566862" cy="6346771"/>
          </a:xfrm>
          <a:prstGeom prst="round1Rect">
            <a:avLst/>
          </a:prstGeom>
          <a:gradFill>
            <a:gsLst>
              <a:gs pos="4000">
                <a:schemeClr val="accent2"/>
              </a:gs>
              <a:gs pos="33000">
                <a:schemeClr val="accent2"/>
              </a:gs>
              <a:gs pos="83000">
                <a:schemeClr val="accent2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17697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Mai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94" r="20870"/>
          <a:stretch/>
        </p:blipFill>
        <p:spPr>
          <a:xfrm rot="16200000" flipV="1">
            <a:off x="51515" y="-51515"/>
            <a:ext cx="6851561" cy="6954592"/>
          </a:xfrm>
          <a:prstGeom prst="rect">
            <a:avLst/>
          </a:prstGeom>
        </p:spPr>
      </p:pic>
      <p:sp>
        <p:nvSpPr>
          <p:cNvPr id="5" name="Round Single Corner Rectangle 4"/>
          <p:cNvSpPr/>
          <p:nvPr userDrawn="1"/>
        </p:nvSpPr>
        <p:spPr>
          <a:xfrm rot="10800000">
            <a:off x="6163486" y="-2"/>
            <a:ext cx="6028514" cy="6634196"/>
          </a:xfrm>
          <a:prstGeom prst="round1Rect">
            <a:avLst/>
          </a:prstGeom>
          <a:blipFill dpi="0" rotWithShape="0">
            <a:blip r:embed="rId3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96154" y="4258574"/>
            <a:ext cx="5632361" cy="908431"/>
          </a:xfrm>
        </p:spPr>
        <p:txBody>
          <a:bodyPr anchor="b">
            <a:noAutofit/>
          </a:bodyPr>
          <a:lstStyle>
            <a:lvl1pPr algn="l">
              <a:defRPr sz="7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6154" y="5458800"/>
            <a:ext cx="5632362" cy="403292"/>
          </a:xfrm>
        </p:spPr>
        <p:txBody>
          <a:bodyPr>
            <a:normAutofit/>
          </a:bodyPr>
          <a:lstStyle>
            <a:lvl1pPr marL="0" indent="0" algn="l">
              <a:buNone/>
              <a:defRPr sz="2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, Subject, Sub header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6154" y="5897896"/>
            <a:ext cx="5632361" cy="322263"/>
          </a:xfr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94177508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a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600790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ITLE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159099"/>
            <a:ext cx="10515600" cy="5017864"/>
          </a:xfrm>
        </p:spPr>
        <p:txBody>
          <a:bodyPr/>
          <a:lstStyle>
            <a:lvl1pPr>
              <a:buClr>
                <a:schemeClr val="tx1"/>
              </a:buClr>
              <a:defRPr sz="24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685800" indent="-228600">
              <a:buClr>
                <a:schemeClr val="bg2"/>
              </a:buClr>
              <a:buFont typeface="Courier New" panose="02070309020205020404" pitchFamily="49" charset="0"/>
              <a:buChar char="o"/>
              <a:defRPr sz="2100" baseline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2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2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Box 5"/>
          <p:cNvSpPr txBox="1"/>
          <p:nvPr userDrawn="1"/>
        </p:nvSpPr>
        <p:spPr bwMode="auto">
          <a:xfrm>
            <a:off x="721217" y="6311900"/>
            <a:ext cx="9540383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1C243F"/>
                </a:solidFill>
                <a:effectLst/>
                <a:uLnTx/>
                <a:uFillTx/>
                <a:latin typeface="Arial" panose="020B0604020202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</a:b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1C243F"/>
                </a:solidFill>
                <a:effectLst/>
                <a:uLnTx/>
                <a:uFillTx/>
                <a:latin typeface="Arial" panose="020B0604020202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© CereCore® | CONFIDENTIAL – Contains proprietary information. Not intended for distribution. 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CAD7E5F-3542-40E5-8824-F6DB83427C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854" b="44669"/>
          <a:stretch/>
        </p:blipFill>
        <p:spPr>
          <a:xfrm>
            <a:off x="9197606" y="6427174"/>
            <a:ext cx="2261666" cy="304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256009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ain Slide_Stri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D7B07E5-88DE-47E6-B35A-F5662246DB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854" b="44669"/>
          <a:stretch/>
        </p:blipFill>
        <p:spPr>
          <a:xfrm>
            <a:off x="9197606" y="6427174"/>
            <a:ext cx="2261666" cy="304801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0" y="1141797"/>
            <a:ext cx="12192000" cy="50351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600790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ITLE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159099"/>
            <a:ext cx="10515600" cy="5017864"/>
          </a:xfrm>
        </p:spPr>
        <p:txBody>
          <a:bodyPr/>
          <a:lstStyle>
            <a:lvl1pPr>
              <a:buClr>
                <a:schemeClr val="tx1"/>
              </a:buClr>
              <a:defRPr sz="24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685800" indent="-228600">
              <a:buClr>
                <a:schemeClr val="bg2"/>
              </a:buClr>
              <a:buFont typeface="Courier New" panose="02070309020205020404" pitchFamily="49" charset="0"/>
              <a:buChar char="o"/>
              <a:defRPr sz="2100" baseline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2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2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Box 7"/>
          <p:cNvSpPr txBox="1"/>
          <p:nvPr userDrawn="1"/>
        </p:nvSpPr>
        <p:spPr bwMode="auto">
          <a:xfrm>
            <a:off x="721217" y="6311900"/>
            <a:ext cx="9540383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1C243F"/>
                </a:solidFill>
                <a:effectLst/>
                <a:uLnTx/>
                <a:uFillTx/>
                <a:latin typeface="Arial" panose="020B0604020202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</a:b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1C243F"/>
                </a:solidFill>
                <a:effectLst/>
                <a:uLnTx/>
                <a:uFillTx/>
                <a:latin typeface="Arial" panose="020B0604020202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© CereCore® | CONFIDENTIAL – Contains proprietary information. Not intended for distribution.  </a:t>
            </a:r>
          </a:p>
        </p:txBody>
      </p:sp>
    </p:spTree>
    <p:extLst>
      <p:ext uri="{BB962C8B-B14F-4D97-AF65-F5344CB8AC3E}">
        <p14:creationId xmlns:p14="http://schemas.microsoft.com/office/powerpoint/2010/main" val="161192380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ain Slide_Shap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7320173" cy="600790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ITLE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159099"/>
            <a:ext cx="7320173" cy="5017864"/>
          </a:xfrm>
        </p:spPr>
        <p:txBody>
          <a:bodyPr/>
          <a:lstStyle>
            <a:lvl1pPr>
              <a:buClr>
                <a:schemeClr val="tx1"/>
              </a:buClr>
              <a:defRPr sz="24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685800" indent="-228600">
              <a:buClr>
                <a:schemeClr val="bg2"/>
              </a:buClr>
              <a:buFont typeface="Courier New" panose="02070309020205020404" pitchFamily="49" charset="0"/>
              <a:buChar char="o"/>
              <a:defRPr sz="2100" baseline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2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2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Box 7"/>
          <p:cNvSpPr txBox="1"/>
          <p:nvPr userDrawn="1"/>
        </p:nvSpPr>
        <p:spPr bwMode="auto">
          <a:xfrm>
            <a:off x="721217" y="6311900"/>
            <a:ext cx="9540383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1C243F"/>
                </a:solidFill>
                <a:effectLst/>
                <a:uLnTx/>
                <a:uFillTx/>
                <a:latin typeface="Arial" panose="020B0604020202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</a:b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1C243F"/>
                </a:solidFill>
                <a:effectLst/>
                <a:uLnTx/>
                <a:uFillTx/>
                <a:latin typeface="Arial" panose="020B0604020202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© CereCore® | CONFIDENTIAL – Contains proprietary information. Not intended for distribution.  </a:t>
            </a:r>
          </a:p>
        </p:txBody>
      </p:sp>
      <p:sp>
        <p:nvSpPr>
          <p:cNvPr id="4" name="Hexagon 3"/>
          <p:cNvSpPr/>
          <p:nvPr userDrawn="1"/>
        </p:nvSpPr>
        <p:spPr>
          <a:xfrm>
            <a:off x="8765492" y="-74423"/>
            <a:ext cx="3301956" cy="2846513"/>
          </a:xfrm>
          <a:prstGeom prst="hexagon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Hexagon 8"/>
          <p:cNvSpPr/>
          <p:nvPr userDrawn="1"/>
        </p:nvSpPr>
        <p:spPr>
          <a:xfrm>
            <a:off x="10755144" y="2906296"/>
            <a:ext cx="1254809" cy="1054093"/>
          </a:xfrm>
          <a:prstGeom prst="hexagon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Hexagon 9"/>
          <p:cNvSpPr/>
          <p:nvPr userDrawn="1"/>
        </p:nvSpPr>
        <p:spPr>
          <a:xfrm>
            <a:off x="10935999" y="4684237"/>
            <a:ext cx="893098" cy="769912"/>
          </a:xfrm>
          <a:prstGeom prst="hexagon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Hexagon 10"/>
          <p:cNvSpPr/>
          <p:nvPr userDrawn="1"/>
        </p:nvSpPr>
        <p:spPr>
          <a:xfrm>
            <a:off x="9108770" y="2277720"/>
            <a:ext cx="1254809" cy="1054093"/>
          </a:xfrm>
          <a:prstGeom prst="hexagon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Hexagon 11"/>
          <p:cNvSpPr/>
          <p:nvPr userDrawn="1"/>
        </p:nvSpPr>
        <p:spPr>
          <a:xfrm>
            <a:off x="11313976" y="1989921"/>
            <a:ext cx="1254809" cy="1054093"/>
          </a:xfrm>
          <a:prstGeom prst="hexagon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Hexagon 12"/>
          <p:cNvSpPr/>
          <p:nvPr userDrawn="1"/>
        </p:nvSpPr>
        <p:spPr>
          <a:xfrm>
            <a:off x="9534692" y="5069193"/>
            <a:ext cx="893098" cy="769912"/>
          </a:xfrm>
          <a:prstGeom prst="hexagon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Hexagon 13"/>
          <p:cNvSpPr/>
          <p:nvPr userDrawn="1"/>
        </p:nvSpPr>
        <p:spPr>
          <a:xfrm>
            <a:off x="9555151" y="3060411"/>
            <a:ext cx="1722638" cy="1447089"/>
          </a:xfrm>
          <a:prstGeom prst="hexagon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Hexagon 15"/>
          <p:cNvSpPr/>
          <p:nvPr userDrawn="1"/>
        </p:nvSpPr>
        <p:spPr>
          <a:xfrm>
            <a:off x="8291759" y="4730605"/>
            <a:ext cx="1722638" cy="1447089"/>
          </a:xfrm>
          <a:prstGeom prst="hexagon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3F6F743-E877-41B6-A47A-1BF92C4671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854" b="44669"/>
          <a:stretch/>
        </p:blipFill>
        <p:spPr>
          <a:xfrm>
            <a:off x="9197606" y="6427174"/>
            <a:ext cx="2261666" cy="304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506170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Slide_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600790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ITLE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199" y="1159099"/>
            <a:ext cx="6900081" cy="5017864"/>
          </a:xfrm>
        </p:spPr>
        <p:txBody>
          <a:bodyPr/>
          <a:lstStyle>
            <a:lvl1pPr>
              <a:buClr>
                <a:schemeClr val="tx1"/>
              </a:buClr>
              <a:defRPr sz="24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685800" indent="-228600">
              <a:buClr>
                <a:schemeClr val="bg2"/>
              </a:buClr>
              <a:buFont typeface="Courier New" panose="02070309020205020404" pitchFamily="49" charset="0"/>
              <a:buChar char="o"/>
              <a:defRPr sz="2100" baseline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914400" indent="0">
              <a:buClr>
                <a:schemeClr val="tx1"/>
              </a:buClr>
              <a:buNone/>
              <a:defRPr>
                <a:solidFill>
                  <a:schemeClr val="tx2"/>
                </a:solidFill>
              </a:defRPr>
            </a:lvl3pPr>
            <a:lvl4pPr marL="1371600" indent="0">
              <a:buClr>
                <a:schemeClr val="tx1"/>
              </a:buClr>
              <a:buNone/>
              <a:defRPr>
                <a:solidFill>
                  <a:schemeClr val="tx2"/>
                </a:solidFill>
              </a:defRPr>
            </a:lvl4pPr>
            <a:lvl5pPr marL="1828800" indent="0">
              <a:buClr>
                <a:schemeClr val="tx1"/>
              </a:buClr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Box 7"/>
          <p:cNvSpPr txBox="1"/>
          <p:nvPr userDrawn="1"/>
        </p:nvSpPr>
        <p:spPr bwMode="auto">
          <a:xfrm>
            <a:off x="721217" y="6311900"/>
            <a:ext cx="9540383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1C243F"/>
                </a:solidFill>
                <a:effectLst/>
                <a:uLnTx/>
                <a:uFillTx/>
                <a:latin typeface="Arial" panose="020B0604020202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</a:b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1C243F"/>
                </a:solidFill>
                <a:effectLst/>
                <a:uLnTx/>
                <a:uFillTx/>
                <a:latin typeface="Arial" panose="020B0604020202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© CereCore® | CONFIDENTIAL – Contains proprietary information. Not intended for distribution.  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7902575" y="1159099"/>
            <a:ext cx="3451225" cy="5017864"/>
          </a:xfrm>
        </p:spPr>
        <p:txBody>
          <a:bodyPr/>
          <a:lstStyle/>
          <a:p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E7DDA49-D558-4113-A910-E02023744F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854" b="44669"/>
          <a:stretch/>
        </p:blipFill>
        <p:spPr>
          <a:xfrm>
            <a:off x="9197606" y="6427174"/>
            <a:ext cx="2261666" cy="304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808273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TITLE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 marL="228600" indent="-228600">
              <a:defRPr lang="en-US" sz="2400" kern="1200" dirty="0" smtClean="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>
              <a:defRPr lang="en-US" sz="2100" kern="1200" baseline="0" dirty="0" smtClean="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</a:lstStyle>
          <a:p>
            <a:pPr marL="228600" lvl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/>
              <a:t>Edit Master text styles</a:t>
            </a:r>
          </a:p>
          <a:p>
            <a:pPr marL="685800" lvl="1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Courier New" panose="02070309020205020404" pitchFamily="49" charset="0"/>
              <a:buChar char="o"/>
            </a:pPr>
            <a:r>
              <a:rPr lang="en-US"/>
              <a:t>Second level</a:t>
            </a:r>
          </a:p>
        </p:txBody>
      </p:sp>
      <p:sp>
        <p:nvSpPr>
          <p:cNvPr id="9" name="TextBox 8"/>
          <p:cNvSpPr txBox="1"/>
          <p:nvPr userDrawn="1"/>
        </p:nvSpPr>
        <p:spPr bwMode="auto">
          <a:xfrm>
            <a:off x="721217" y="6311900"/>
            <a:ext cx="9540383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1C243F"/>
                </a:solidFill>
                <a:effectLst/>
                <a:uLnTx/>
                <a:uFillTx/>
                <a:latin typeface="Arial" panose="020B0604020202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</a:b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1C243F"/>
                </a:solidFill>
                <a:effectLst/>
                <a:uLnTx/>
                <a:uFillTx/>
                <a:latin typeface="Arial" panose="020B0604020202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© CereCore® | CONFIDENTIAL – Contains proprietary information. Not intended for distribution.  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0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 marL="228600" indent="-228600">
              <a:defRPr lang="en-US" sz="2400" kern="1200" dirty="0" smtClean="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>
              <a:defRPr lang="en-US" sz="2100" kern="1200" baseline="0" dirty="0" smtClean="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</a:lstStyle>
          <a:p>
            <a:pPr marL="228600" lvl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/>
              <a:t>Edit Master text styles</a:t>
            </a:r>
          </a:p>
          <a:p>
            <a:pPr marL="685800" lvl="1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Courier New" panose="02070309020205020404" pitchFamily="49" charset="0"/>
              <a:buChar char="o"/>
            </a:pPr>
            <a:r>
              <a:rPr lang="en-US"/>
              <a:t>Second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802460E-2EF0-4BE4-9B11-DDCB357F82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854" b="44669"/>
          <a:stretch/>
        </p:blipFill>
        <p:spPr>
          <a:xfrm>
            <a:off x="9197606" y="6427174"/>
            <a:ext cx="2261666" cy="304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44616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TITLE HERE</a:t>
            </a:r>
          </a:p>
        </p:txBody>
      </p:sp>
      <p:sp>
        <p:nvSpPr>
          <p:cNvPr id="9" name="TextBox 8"/>
          <p:cNvSpPr txBox="1"/>
          <p:nvPr userDrawn="1"/>
        </p:nvSpPr>
        <p:spPr bwMode="auto">
          <a:xfrm>
            <a:off x="721217" y="6311900"/>
            <a:ext cx="9540383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1C243F"/>
                </a:solidFill>
                <a:effectLst/>
                <a:uLnTx/>
                <a:uFillTx/>
                <a:latin typeface="Arial" panose="020B0604020202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</a:b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1C243F"/>
                </a:solidFill>
                <a:effectLst/>
                <a:uLnTx/>
                <a:uFillTx/>
                <a:latin typeface="Arial" panose="020B0604020202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© CereCore® | CONFIDENTIAL – Contains proprietary information. Not intended for distribution.  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39592"/>
            <a:ext cx="3383280" cy="4323404"/>
          </a:xfrm>
          <a:prstGeom prst="rect">
            <a:avLst/>
          </a:prstGeom>
        </p:spPr>
        <p:txBody>
          <a:bodyPr>
            <a:noAutofit/>
          </a:bodyPr>
          <a:lstStyle>
            <a:lvl1pPr marL="228589" indent="-228589">
              <a:lnSpc>
                <a:spcPct val="100000"/>
              </a:lnSpc>
              <a:spcBef>
                <a:spcPts val="0"/>
              </a:spcBef>
              <a:tabLst/>
              <a:defRPr lang="en-US" sz="2400" kern="1200" dirty="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0"/>
              </a:spcBef>
              <a:defRPr lang="en-US" sz="2100" kern="1200" baseline="0" dirty="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1400">
                <a:solidFill>
                  <a:srgbClr val="4E45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1400">
                <a:solidFill>
                  <a:srgbClr val="4E45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867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marL="228600" lvl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/>
              <a:t>Edit Master text styles</a:t>
            </a:r>
          </a:p>
          <a:p>
            <a:pPr marL="685800" lvl="1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Courier New" panose="02070309020205020404" pitchFamily="49" charset="0"/>
              <a:buChar char="o"/>
            </a:pPr>
            <a:r>
              <a:rPr lang="en-US"/>
              <a:t>Secon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EE22D488-BAA3-B846-866B-5889189F2B50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404360" y="1839592"/>
            <a:ext cx="3383280" cy="4323404"/>
          </a:xfrm>
          <a:prstGeom prst="rect">
            <a:avLst/>
          </a:prstGeom>
        </p:spPr>
        <p:txBody>
          <a:bodyPr>
            <a:noAutofit/>
          </a:bodyPr>
          <a:lstStyle>
            <a:lvl1pPr marL="228589" indent="-228589">
              <a:lnSpc>
                <a:spcPct val="100000"/>
              </a:lnSpc>
              <a:spcBef>
                <a:spcPts val="0"/>
              </a:spcBef>
              <a:tabLst/>
              <a:defRPr lang="en-US" sz="2400" kern="1200" dirty="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0"/>
              </a:spcBef>
              <a:defRPr lang="en-US" sz="2100" kern="1200" baseline="0" dirty="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1400">
                <a:solidFill>
                  <a:srgbClr val="4E45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1400">
                <a:solidFill>
                  <a:srgbClr val="4E45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867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marL="228600" lvl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</a:pPr>
            <a:r>
              <a:rPr lang="en-US"/>
              <a:t>Edit Master text styles</a:t>
            </a:r>
          </a:p>
          <a:p>
            <a:pPr marL="685800" lvl="1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Courier New" panose="02070309020205020404" pitchFamily="49" charset="0"/>
              <a:buChar char="o"/>
            </a:pPr>
            <a:r>
              <a:rPr lang="en-US"/>
              <a:t>Secon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12096EE-FD27-024F-92C7-F21530130DA3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7970520" y="1839592"/>
            <a:ext cx="3383280" cy="4323404"/>
          </a:xfrm>
          <a:prstGeom prst="rect">
            <a:avLst/>
          </a:prstGeom>
        </p:spPr>
        <p:txBody>
          <a:bodyPr>
            <a:noAutofit/>
          </a:bodyPr>
          <a:lstStyle>
            <a:lvl1pPr marL="228589" indent="-228589">
              <a:lnSpc>
                <a:spcPct val="100000"/>
              </a:lnSpc>
              <a:spcBef>
                <a:spcPts val="0"/>
              </a:spcBef>
              <a:tabLst/>
              <a:defRPr lang="en-US" sz="2400" kern="1200" dirty="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0"/>
              </a:spcBef>
              <a:defRPr lang="en-US" sz="2100" kern="1200" baseline="0" dirty="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1400">
                <a:solidFill>
                  <a:srgbClr val="4E45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1400">
                <a:solidFill>
                  <a:srgbClr val="4E45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867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marL="228600" lvl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</a:pPr>
            <a:r>
              <a:rPr lang="en-US"/>
              <a:t>Edit Master text styles</a:t>
            </a:r>
          </a:p>
          <a:p>
            <a:pPr marL="685800" lvl="1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Courier New" panose="02070309020205020404" pitchFamily="49" charset="0"/>
              <a:buChar char="o"/>
            </a:pPr>
            <a:r>
              <a:rPr lang="en-US"/>
              <a:t>Second level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78FFCCC-CBCF-4849-A64C-8FB75AA6F9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854" b="44669"/>
          <a:stretch/>
        </p:blipFill>
        <p:spPr>
          <a:xfrm>
            <a:off x="9197606" y="6427174"/>
            <a:ext cx="2261666" cy="304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936987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Circ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 bwMode="auto">
          <a:xfrm>
            <a:off x="721217" y="6311900"/>
            <a:ext cx="9540383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1C243F"/>
                </a:solidFill>
                <a:effectLst/>
                <a:uLnTx/>
                <a:uFillTx/>
                <a:latin typeface="Arial" panose="020B0604020202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</a:b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1C243F"/>
                </a:solidFill>
                <a:effectLst/>
                <a:uLnTx/>
                <a:uFillTx/>
                <a:latin typeface="Arial" panose="020B0604020202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© CereCore® | CONFIDENTIAL – Contains proprietary information. Not intended for distribution.  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" hasCustomPrompt="1"/>
          </p:nvPr>
        </p:nvSpPr>
        <p:spPr>
          <a:xfrm>
            <a:off x="838200" y="3088718"/>
            <a:ext cx="3193144" cy="715963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ctr">
              <a:buNone/>
              <a:defRPr sz="1600" b="1">
                <a:latin typeface="+mn-lt"/>
              </a:defRPr>
            </a:lvl1pPr>
            <a:lvl2pPr marL="0" indent="0">
              <a:buSzPct val="100000"/>
              <a:buFontTx/>
              <a:buNone/>
              <a:defRPr sz="2933"/>
            </a:lvl2pPr>
            <a:lvl3pPr marL="685766" indent="-228589"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400">
                <a:latin typeface="Gotham Thin" pitchFamily="50" charset="0"/>
                <a:cs typeface="Gotham Thin" pitchFamily="50" charset="0"/>
              </a:defRPr>
            </a:lvl3pPr>
            <a:lvl4pPr marL="914354" indent="-228589"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400">
                <a:latin typeface="Gotham Thin" pitchFamily="50" charset="0"/>
                <a:cs typeface="Gotham Thin" pitchFamily="50" charset="0"/>
              </a:defRPr>
            </a:lvl4pPr>
            <a:lvl5pPr marL="1142942" indent="-228589"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400">
                <a:latin typeface="Gotham Thin" pitchFamily="50" charset="0"/>
                <a:cs typeface="Gotham Thin" pitchFamily="50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0"/>
          </p:nvPr>
        </p:nvSpPr>
        <p:spPr>
          <a:xfrm>
            <a:off x="838200" y="3918990"/>
            <a:ext cx="3193144" cy="1934126"/>
          </a:xfrm>
          <a:prstGeom prst="rect">
            <a:avLst/>
          </a:prstGeom>
        </p:spPr>
        <p:txBody>
          <a:bodyPr>
            <a:normAutofit/>
          </a:bodyPr>
          <a:lstStyle>
            <a:lvl1pPr marL="228589" indent="-228589">
              <a:lnSpc>
                <a:spcPct val="114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1400" b="0" i="0">
                <a:latin typeface="+mn-lt"/>
                <a:cs typeface="Arial Regular"/>
              </a:defRPr>
            </a:lvl1pPr>
            <a:lvl2pPr marL="0" indent="0">
              <a:buSzPct val="100000"/>
              <a:buFontTx/>
              <a:buNone/>
              <a:defRPr sz="2667">
                <a:latin typeface="Gotham Thin" pitchFamily="50" charset="0"/>
                <a:cs typeface="Gotham Thin" pitchFamily="50" charset="0"/>
              </a:defRPr>
            </a:lvl2pPr>
            <a:lvl3pPr marL="685766" indent="-228589"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400">
                <a:latin typeface="Gotham Thin" pitchFamily="50" charset="0"/>
                <a:cs typeface="Gotham Thin" pitchFamily="50" charset="0"/>
              </a:defRPr>
            </a:lvl3pPr>
            <a:lvl4pPr marL="914354" indent="-228589"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400">
                <a:latin typeface="Gotham Thin" pitchFamily="50" charset="0"/>
                <a:cs typeface="Gotham Thin" pitchFamily="50" charset="0"/>
              </a:defRPr>
            </a:lvl4pPr>
            <a:lvl5pPr marL="1142942" indent="-228589"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400">
                <a:latin typeface="Gotham Thin" pitchFamily="50" charset="0"/>
                <a:cs typeface="Gotham Thin" pitchFamily="50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3" hasCustomPrompt="1"/>
          </p:nvPr>
        </p:nvSpPr>
        <p:spPr>
          <a:xfrm>
            <a:off x="7970141" y="3088718"/>
            <a:ext cx="3350381" cy="715963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ctr">
              <a:buNone/>
              <a:defRPr sz="1600" b="1">
                <a:latin typeface="+mn-lt"/>
              </a:defRPr>
            </a:lvl1pPr>
            <a:lvl2pPr marL="0" indent="0">
              <a:buSzPct val="100000"/>
              <a:buFontTx/>
              <a:buNone/>
              <a:defRPr sz="2933"/>
            </a:lvl2pPr>
            <a:lvl3pPr marL="685766" indent="-228589"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400">
                <a:latin typeface="Gotham Thin" pitchFamily="50" charset="0"/>
                <a:cs typeface="Gotham Thin" pitchFamily="50" charset="0"/>
              </a:defRPr>
            </a:lvl3pPr>
            <a:lvl4pPr marL="914354" indent="-228589"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400">
                <a:latin typeface="Gotham Thin" pitchFamily="50" charset="0"/>
                <a:cs typeface="Gotham Thin" pitchFamily="50" charset="0"/>
              </a:defRPr>
            </a:lvl4pPr>
            <a:lvl5pPr marL="1142942" indent="-228589"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400">
                <a:latin typeface="Gotham Thin" pitchFamily="50" charset="0"/>
                <a:cs typeface="Gotham Thin" pitchFamily="50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4"/>
          </p:nvPr>
        </p:nvSpPr>
        <p:spPr>
          <a:xfrm>
            <a:off x="7970141" y="3918990"/>
            <a:ext cx="3350381" cy="1934126"/>
          </a:xfrm>
          <a:prstGeom prst="rect">
            <a:avLst/>
          </a:prstGeom>
        </p:spPr>
        <p:txBody>
          <a:bodyPr>
            <a:normAutofit/>
          </a:bodyPr>
          <a:lstStyle>
            <a:lvl1pPr marL="228589" indent="-228589">
              <a:lnSpc>
                <a:spcPct val="114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1400" b="0" i="0">
                <a:latin typeface="+mn-lt"/>
                <a:cs typeface="Arial Regular"/>
              </a:defRPr>
            </a:lvl1pPr>
            <a:lvl2pPr marL="0" indent="0">
              <a:buSzPct val="100000"/>
              <a:buFontTx/>
              <a:buNone/>
              <a:defRPr sz="2667">
                <a:latin typeface="Gotham Thin" pitchFamily="50" charset="0"/>
                <a:cs typeface="Gotham Thin" pitchFamily="50" charset="0"/>
              </a:defRPr>
            </a:lvl2pPr>
            <a:lvl3pPr marL="685766" indent="-228589"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400">
                <a:latin typeface="Gotham Thin" pitchFamily="50" charset="0"/>
                <a:cs typeface="Gotham Thin" pitchFamily="50" charset="0"/>
              </a:defRPr>
            </a:lvl3pPr>
            <a:lvl4pPr marL="914354" indent="-228589"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400">
                <a:latin typeface="Gotham Thin" pitchFamily="50" charset="0"/>
                <a:cs typeface="Gotham Thin" pitchFamily="50" charset="0"/>
              </a:defRPr>
            </a:lvl4pPr>
            <a:lvl5pPr marL="1142942" indent="-228589"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400">
                <a:latin typeface="Gotham Thin" pitchFamily="50" charset="0"/>
                <a:cs typeface="Gotham Thin" pitchFamily="50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AA3073F7-2F26-4143-A1FD-2ADD81A274B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746640" y="1532657"/>
            <a:ext cx="1376184" cy="1347511"/>
          </a:xfrm>
          <a:prstGeom prst="ellipse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467" b="1" i="0">
                <a:solidFill>
                  <a:schemeClr val="tx1"/>
                </a:solidFill>
                <a:latin typeface="Arial Bold"/>
                <a:cs typeface="Arial Bold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4E1C01E7-46F2-C548-BACD-02648DBD76A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957239" y="1513600"/>
            <a:ext cx="1376184" cy="1347511"/>
          </a:xfrm>
          <a:prstGeom prst="ellipse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467" b="1" i="0">
                <a:solidFill>
                  <a:schemeClr val="tx1"/>
                </a:solidFill>
                <a:latin typeface="Arial Bold"/>
                <a:cs typeface="Arial Bold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600790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ITLE HERE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>
          <a:xfrm>
            <a:off x="4325552" y="3082478"/>
            <a:ext cx="3350381" cy="715963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ctr">
              <a:buNone/>
              <a:defRPr sz="1600" b="1">
                <a:latin typeface="+mn-lt"/>
              </a:defRPr>
            </a:lvl1pPr>
            <a:lvl2pPr marL="0" indent="0">
              <a:buSzPct val="100000"/>
              <a:buFontTx/>
              <a:buNone/>
              <a:defRPr sz="2933"/>
            </a:lvl2pPr>
            <a:lvl3pPr marL="685766" indent="-228589"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400">
                <a:latin typeface="Gotham Thin" pitchFamily="50" charset="0"/>
                <a:cs typeface="Gotham Thin" pitchFamily="50" charset="0"/>
              </a:defRPr>
            </a:lvl3pPr>
            <a:lvl4pPr marL="914354" indent="-228589"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400">
                <a:latin typeface="Gotham Thin" pitchFamily="50" charset="0"/>
                <a:cs typeface="Gotham Thin" pitchFamily="50" charset="0"/>
              </a:defRPr>
            </a:lvl4pPr>
            <a:lvl5pPr marL="1142942" indent="-228589"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400">
                <a:latin typeface="Gotham Thin" pitchFamily="50" charset="0"/>
                <a:cs typeface="Gotham Thin" pitchFamily="50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9"/>
          </p:nvPr>
        </p:nvSpPr>
        <p:spPr>
          <a:xfrm>
            <a:off x="4325552" y="3912750"/>
            <a:ext cx="3350381" cy="1934126"/>
          </a:xfrm>
          <a:prstGeom prst="rect">
            <a:avLst/>
          </a:prstGeom>
        </p:spPr>
        <p:txBody>
          <a:bodyPr>
            <a:normAutofit/>
          </a:bodyPr>
          <a:lstStyle>
            <a:lvl1pPr marL="228589" indent="-228589">
              <a:lnSpc>
                <a:spcPct val="114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1400" b="0" i="0">
                <a:latin typeface="+mn-lt"/>
                <a:cs typeface="Arial Regular"/>
              </a:defRPr>
            </a:lvl1pPr>
            <a:lvl2pPr marL="0" indent="0">
              <a:buSzPct val="100000"/>
              <a:buFontTx/>
              <a:buNone/>
              <a:defRPr sz="2667">
                <a:latin typeface="Gotham Thin" pitchFamily="50" charset="0"/>
                <a:cs typeface="Gotham Thin" pitchFamily="50" charset="0"/>
              </a:defRPr>
            </a:lvl2pPr>
            <a:lvl3pPr marL="685766" indent="-228589"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400">
                <a:latin typeface="Gotham Thin" pitchFamily="50" charset="0"/>
                <a:cs typeface="Gotham Thin" pitchFamily="50" charset="0"/>
              </a:defRPr>
            </a:lvl3pPr>
            <a:lvl4pPr marL="914354" indent="-228589"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400">
                <a:latin typeface="Gotham Thin" pitchFamily="50" charset="0"/>
                <a:cs typeface="Gotham Thin" pitchFamily="50" charset="0"/>
              </a:defRPr>
            </a:lvl4pPr>
            <a:lvl5pPr marL="1142942" indent="-228589"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400">
                <a:latin typeface="Gotham Thin" pitchFamily="50" charset="0"/>
                <a:cs typeface="Gotham Thin" pitchFamily="50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4E1C01E7-46F2-C548-BACD-02648DBD76A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312650" y="1507360"/>
            <a:ext cx="1376184" cy="1347511"/>
          </a:xfrm>
          <a:prstGeom prst="ellipse">
            <a:avLst/>
          </a:prstGeom>
        </p:spPr>
        <p:txBody>
          <a:bodyPr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467" b="1" i="0" kern="1200" dirty="0">
                <a:solidFill>
                  <a:schemeClr val="tx1"/>
                </a:solidFill>
                <a:latin typeface="Arial Bold"/>
                <a:ea typeface="+mn-ea"/>
                <a:cs typeface="Arial Bold"/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61B7BFF2-DBF2-4C54-97BE-3B6DB6064C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854" b="44669"/>
          <a:stretch/>
        </p:blipFill>
        <p:spPr>
          <a:xfrm>
            <a:off x="9197606" y="6427174"/>
            <a:ext cx="2261666" cy="304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704082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Circ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 bwMode="auto">
          <a:xfrm>
            <a:off x="721217" y="6311900"/>
            <a:ext cx="9540383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1C243F"/>
                </a:solidFill>
                <a:effectLst/>
                <a:uLnTx/>
                <a:uFillTx/>
                <a:latin typeface="Arial" panose="020B0604020202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</a:b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1C243F"/>
                </a:solidFill>
                <a:effectLst/>
                <a:uLnTx/>
                <a:uFillTx/>
                <a:latin typeface="Arial" panose="020B0604020202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© CereCore® | CONFIDENTIAL – Contains proprietary information. Not intended for distribution.  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0258" y="3108889"/>
            <a:ext cx="2062942" cy="715963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ctr">
              <a:buNone/>
              <a:defRPr sz="1600" b="1">
                <a:latin typeface="+mn-lt"/>
              </a:defRPr>
            </a:lvl1pPr>
            <a:lvl2pPr marL="0" indent="0">
              <a:buSzPct val="100000"/>
              <a:buFontTx/>
              <a:buNone/>
              <a:defRPr sz="2933"/>
            </a:lvl2pPr>
            <a:lvl3pPr marL="685766" indent="-228589"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400">
                <a:latin typeface="Gotham Thin" pitchFamily="50" charset="0"/>
                <a:cs typeface="Gotham Thin" pitchFamily="50" charset="0"/>
              </a:defRPr>
            </a:lvl3pPr>
            <a:lvl4pPr marL="914354" indent="-228589"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400">
                <a:latin typeface="Gotham Thin" pitchFamily="50" charset="0"/>
                <a:cs typeface="Gotham Thin" pitchFamily="50" charset="0"/>
              </a:defRPr>
            </a:lvl4pPr>
            <a:lvl5pPr marL="1142942" indent="-228589"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400">
                <a:latin typeface="Gotham Thin" pitchFamily="50" charset="0"/>
                <a:cs typeface="Gotham Thin" pitchFamily="50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0"/>
          </p:nvPr>
        </p:nvSpPr>
        <p:spPr>
          <a:xfrm>
            <a:off x="640258" y="3939161"/>
            <a:ext cx="2062942" cy="1934126"/>
          </a:xfrm>
          <a:prstGeom prst="rect">
            <a:avLst/>
          </a:prstGeom>
        </p:spPr>
        <p:txBody>
          <a:bodyPr>
            <a:normAutofit/>
          </a:bodyPr>
          <a:lstStyle>
            <a:lvl1pPr marL="228589" indent="-228589">
              <a:lnSpc>
                <a:spcPct val="114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1400" b="0" i="0">
                <a:latin typeface="+mn-lt"/>
                <a:cs typeface="Arial Regular"/>
              </a:defRPr>
            </a:lvl1pPr>
            <a:lvl2pPr marL="0" indent="0">
              <a:buSzPct val="100000"/>
              <a:buFontTx/>
              <a:buNone/>
              <a:defRPr sz="2667">
                <a:latin typeface="Gotham Thin" pitchFamily="50" charset="0"/>
                <a:cs typeface="Gotham Thin" pitchFamily="50" charset="0"/>
              </a:defRPr>
            </a:lvl2pPr>
            <a:lvl3pPr marL="685766" indent="-228589"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400">
                <a:latin typeface="Gotham Thin" pitchFamily="50" charset="0"/>
                <a:cs typeface="Gotham Thin" pitchFamily="50" charset="0"/>
              </a:defRPr>
            </a:lvl3pPr>
            <a:lvl4pPr marL="914354" indent="-228589"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400">
                <a:latin typeface="Gotham Thin" pitchFamily="50" charset="0"/>
                <a:cs typeface="Gotham Thin" pitchFamily="50" charset="0"/>
              </a:defRPr>
            </a:lvl4pPr>
            <a:lvl5pPr marL="1142942" indent="-228589"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400">
                <a:latin typeface="Gotham Thin" pitchFamily="50" charset="0"/>
                <a:cs typeface="Gotham Thin" pitchFamily="50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AA3073F7-2F26-4143-A1FD-2ADD81A274B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83637" y="1531137"/>
            <a:ext cx="1376184" cy="1347511"/>
          </a:xfrm>
          <a:prstGeom prst="ellipse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467" b="1" i="0">
                <a:solidFill>
                  <a:schemeClr val="tx1"/>
                </a:solidFill>
                <a:latin typeface="Arial Bold"/>
                <a:cs typeface="Arial Bold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600790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ITLE HERE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61B7BFF2-DBF2-4C54-97BE-3B6DB6064C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854" b="44669"/>
          <a:stretch/>
        </p:blipFill>
        <p:spPr>
          <a:xfrm>
            <a:off x="9197606" y="6427174"/>
            <a:ext cx="2261666" cy="304801"/>
          </a:xfrm>
          <a:prstGeom prst="rect">
            <a:avLst/>
          </a:prstGeom>
        </p:spPr>
      </p:pic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49D48CB0-0B75-4B68-9370-1182BB28D723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2829276" y="3108889"/>
            <a:ext cx="2062942" cy="715963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ctr">
              <a:buNone/>
              <a:defRPr sz="1600" b="1">
                <a:latin typeface="+mn-lt"/>
              </a:defRPr>
            </a:lvl1pPr>
            <a:lvl2pPr marL="0" indent="0">
              <a:buSzPct val="100000"/>
              <a:buFontTx/>
              <a:buNone/>
              <a:defRPr sz="2933"/>
            </a:lvl2pPr>
            <a:lvl3pPr marL="685766" indent="-228589"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400">
                <a:latin typeface="Gotham Thin" pitchFamily="50" charset="0"/>
                <a:cs typeface="Gotham Thin" pitchFamily="50" charset="0"/>
              </a:defRPr>
            </a:lvl3pPr>
            <a:lvl4pPr marL="914354" indent="-228589"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400">
                <a:latin typeface="Gotham Thin" pitchFamily="50" charset="0"/>
                <a:cs typeface="Gotham Thin" pitchFamily="50" charset="0"/>
              </a:defRPr>
            </a:lvl4pPr>
            <a:lvl5pPr marL="1142942" indent="-228589"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400">
                <a:latin typeface="Gotham Thin" pitchFamily="50" charset="0"/>
                <a:cs typeface="Gotham Thin" pitchFamily="50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59D69197-4EEE-4A17-B8E2-ABD072499503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2829276" y="3939161"/>
            <a:ext cx="2062942" cy="1934126"/>
          </a:xfrm>
          <a:prstGeom prst="rect">
            <a:avLst/>
          </a:prstGeom>
        </p:spPr>
        <p:txBody>
          <a:bodyPr>
            <a:normAutofit/>
          </a:bodyPr>
          <a:lstStyle>
            <a:lvl1pPr marL="228589" indent="-228589">
              <a:lnSpc>
                <a:spcPct val="114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1400" b="0" i="0">
                <a:latin typeface="+mn-lt"/>
                <a:cs typeface="Arial Regular"/>
              </a:defRPr>
            </a:lvl1pPr>
            <a:lvl2pPr marL="0" indent="0">
              <a:buSzPct val="100000"/>
              <a:buFontTx/>
              <a:buNone/>
              <a:defRPr sz="2667">
                <a:latin typeface="Gotham Thin" pitchFamily="50" charset="0"/>
                <a:cs typeface="Gotham Thin" pitchFamily="50" charset="0"/>
              </a:defRPr>
            </a:lvl2pPr>
            <a:lvl3pPr marL="685766" indent="-228589"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400">
                <a:latin typeface="Gotham Thin" pitchFamily="50" charset="0"/>
                <a:cs typeface="Gotham Thin" pitchFamily="50" charset="0"/>
              </a:defRPr>
            </a:lvl3pPr>
            <a:lvl4pPr marL="914354" indent="-228589"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400">
                <a:latin typeface="Gotham Thin" pitchFamily="50" charset="0"/>
                <a:cs typeface="Gotham Thin" pitchFamily="50" charset="0"/>
              </a:defRPr>
            </a:lvl4pPr>
            <a:lvl5pPr marL="1142942" indent="-228589"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400">
                <a:latin typeface="Gotham Thin" pitchFamily="50" charset="0"/>
                <a:cs typeface="Gotham Thin" pitchFamily="50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C950FBAD-7197-4A9A-989F-EC77A98B43A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172655" y="1531137"/>
            <a:ext cx="1376184" cy="1347511"/>
          </a:xfrm>
          <a:prstGeom prst="ellipse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467" b="1" i="0">
                <a:solidFill>
                  <a:schemeClr val="tx1"/>
                </a:solidFill>
                <a:latin typeface="Arial Bold"/>
                <a:cs typeface="Arial Bold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ECA9D40F-E1D8-4967-BB0B-7A6196155027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5018294" y="3108889"/>
            <a:ext cx="2062942" cy="715963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ctr">
              <a:buNone/>
              <a:defRPr sz="1600" b="1">
                <a:latin typeface="+mn-lt"/>
              </a:defRPr>
            </a:lvl1pPr>
            <a:lvl2pPr marL="0" indent="0">
              <a:buSzPct val="100000"/>
              <a:buFontTx/>
              <a:buNone/>
              <a:defRPr sz="2933"/>
            </a:lvl2pPr>
            <a:lvl3pPr marL="685766" indent="-228589"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400">
                <a:latin typeface="Gotham Thin" pitchFamily="50" charset="0"/>
                <a:cs typeface="Gotham Thin" pitchFamily="50" charset="0"/>
              </a:defRPr>
            </a:lvl3pPr>
            <a:lvl4pPr marL="914354" indent="-228589"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400">
                <a:latin typeface="Gotham Thin" pitchFamily="50" charset="0"/>
                <a:cs typeface="Gotham Thin" pitchFamily="50" charset="0"/>
              </a:defRPr>
            </a:lvl4pPr>
            <a:lvl5pPr marL="1142942" indent="-228589"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400">
                <a:latin typeface="Gotham Thin" pitchFamily="50" charset="0"/>
                <a:cs typeface="Gotham Thin" pitchFamily="50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9CCB74CF-29F0-4899-B1D9-E1D79ACE9504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5018294" y="3939161"/>
            <a:ext cx="2062942" cy="1934126"/>
          </a:xfrm>
          <a:prstGeom prst="rect">
            <a:avLst/>
          </a:prstGeom>
        </p:spPr>
        <p:txBody>
          <a:bodyPr>
            <a:normAutofit/>
          </a:bodyPr>
          <a:lstStyle>
            <a:lvl1pPr marL="228589" indent="-228589">
              <a:lnSpc>
                <a:spcPct val="114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1400" b="0" i="0">
                <a:latin typeface="+mn-lt"/>
                <a:cs typeface="Arial Regular"/>
              </a:defRPr>
            </a:lvl1pPr>
            <a:lvl2pPr marL="0" indent="0">
              <a:buSzPct val="100000"/>
              <a:buFontTx/>
              <a:buNone/>
              <a:defRPr sz="2667">
                <a:latin typeface="Gotham Thin" pitchFamily="50" charset="0"/>
                <a:cs typeface="Gotham Thin" pitchFamily="50" charset="0"/>
              </a:defRPr>
            </a:lvl2pPr>
            <a:lvl3pPr marL="685766" indent="-228589"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400">
                <a:latin typeface="Gotham Thin" pitchFamily="50" charset="0"/>
                <a:cs typeface="Gotham Thin" pitchFamily="50" charset="0"/>
              </a:defRPr>
            </a:lvl3pPr>
            <a:lvl4pPr marL="914354" indent="-228589"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400">
                <a:latin typeface="Gotham Thin" pitchFamily="50" charset="0"/>
                <a:cs typeface="Gotham Thin" pitchFamily="50" charset="0"/>
              </a:defRPr>
            </a:lvl4pPr>
            <a:lvl5pPr marL="1142942" indent="-228589"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400">
                <a:latin typeface="Gotham Thin" pitchFamily="50" charset="0"/>
                <a:cs typeface="Gotham Thin" pitchFamily="50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A18CC727-40B3-41FE-B53C-B6E85537F17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361673" y="1523580"/>
            <a:ext cx="1376184" cy="1347511"/>
          </a:xfrm>
          <a:prstGeom prst="ellipse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467" b="1" i="0">
                <a:solidFill>
                  <a:schemeClr val="tx1"/>
                </a:solidFill>
                <a:latin typeface="Arial Bold"/>
                <a:cs typeface="Arial Bold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F2967823-54EA-4C03-8D48-9137CAC9FC84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207312" y="3105111"/>
            <a:ext cx="2062942" cy="715963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ctr">
              <a:buNone/>
              <a:defRPr sz="1600" b="1">
                <a:latin typeface="+mn-lt"/>
              </a:defRPr>
            </a:lvl1pPr>
            <a:lvl2pPr marL="0" indent="0">
              <a:buSzPct val="100000"/>
              <a:buFontTx/>
              <a:buNone/>
              <a:defRPr sz="2933"/>
            </a:lvl2pPr>
            <a:lvl3pPr marL="685766" indent="-228589"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400">
                <a:latin typeface="Gotham Thin" pitchFamily="50" charset="0"/>
                <a:cs typeface="Gotham Thin" pitchFamily="50" charset="0"/>
              </a:defRPr>
            </a:lvl3pPr>
            <a:lvl4pPr marL="914354" indent="-228589"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400">
                <a:latin typeface="Gotham Thin" pitchFamily="50" charset="0"/>
                <a:cs typeface="Gotham Thin" pitchFamily="50" charset="0"/>
              </a:defRPr>
            </a:lvl4pPr>
            <a:lvl5pPr marL="1142942" indent="-228589"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400">
                <a:latin typeface="Gotham Thin" pitchFamily="50" charset="0"/>
                <a:cs typeface="Gotham Thin" pitchFamily="50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40FC9EC4-ED3E-4475-BCCE-CD5A847AAEDA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7207312" y="3935383"/>
            <a:ext cx="2062942" cy="1934126"/>
          </a:xfrm>
          <a:prstGeom prst="rect">
            <a:avLst/>
          </a:prstGeom>
        </p:spPr>
        <p:txBody>
          <a:bodyPr>
            <a:normAutofit/>
          </a:bodyPr>
          <a:lstStyle>
            <a:lvl1pPr marL="228589" indent="-228589">
              <a:lnSpc>
                <a:spcPct val="114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1400" b="0" i="0">
                <a:latin typeface="+mn-lt"/>
                <a:cs typeface="Arial Regular"/>
              </a:defRPr>
            </a:lvl1pPr>
            <a:lvl2pPr marL="0" indent="0">
              <a:buSzPct val="100000"/>
              <a:buFontTx/>
              <a:buNone/>
              <a:defRPr sz="2667">
                <a:latin typeface="Gotham Thin" pitchFamily="50" charset="0"/>
                <a:cs typeface="Gotham Thin" pitchFamily="50" charset="0"/>
              </a:defRPr>
            </a:lvl2pPr>
            <a:lvl3pPr marL="685766" indent="-228589"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400">
                <a:latin typeface="Gotham Thin" pitchFamily="50" charset="0"/>
                <a:cs typeface="Gotham Thin" pitchFamily="50" charset="0"/>
              </a:defRPr>
            </a:lvl3pPr>
            <a:lvl4pPr marL="914354" indent="-228589"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400">
                <a:latin typeface="Gotham Thin" pitchFamily="50" charset="0"/>
                <a:cs typeface="Gotham Thin" pitchFamily="50" charset="0"/>
              </a:defRPr>
            </a:lvl4pPr>
            <a:lvl5pPr marL="1142942" indent="-228589"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400">
                <a:latin typeface="Gotham Thin" pitchFamily="50" charset="0"/>
                <a:cs typeface="Gotham Thin" pitchFamily="50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24FD9ACA-98A6-49C0-8C80-B8F6F1505002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7550691" y="1519802"/>
            <a:ext cx="1376184" cy="1347511"/>
          </a:xfrm>
          <a:prstGeom prst="ellipse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467" b="1" i="0">
                <a:solidFill>
                  <a:schemeClr val="tx1"/>
                </a:solidFill>
                <a:latin typeface="Arial Bold"/>
                <a:cs typeface="Arial Bold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11585296-635D-4F90-AB20-4CCC3100E65D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9396330" y="3108889"/>
            <a:ext cx="2062942" cy="715963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ctr">
              <a:buNone/>
              <a:defRPr sz="1600" b="1">
                <a:latin typeface="+mn-lt"/>
              </a:defRPr>
            </a:lvl1pPr>
            <a:lvl2pPr marL="0" indent="0">
              <a:buSzPct val="100000"/>
              <a:buFontTx/>
              <a:buNone/>
              <a:defRPr sz="2933"/>
            </a:lvl2pPr>
            <a:lvl3pPr marL="685766" indent="-228589"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400">
                <a:latin typeface="Gotham Thin" pitchFamily="50" charset="0"/>
                <a:cs typeface="Gotham Thin" pitchFamily="50" charset="0"/>
              </a:defRPr>
            </a:lvl3pPr>
            <a:lvl4pPr marL="914354" indent="-228589"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400">
                <a:latin typeface="Gotham Thin" pitchFamily="50" charset="0"/>
                <a:cs typeface="Gotham Thin" pitchFamily="50" charset="0"/>
              </a:defRPr>
            </a:lvl4pPr>
            <a:lvl5pPr marL="1142942" indent="-228589"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400">
                <a:latin typeface="Gotham Thin" pitchFamily="50" charset="0"/>
                <a:cs typeface="Gotham Thin" pitchFamily="50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DB7CD6BB-0571-46E7-B1DF-0934937687CE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9396330" y="3939161"/>
            <a:ext cx="2062942" cy="1934126"/>
          </a:xfrm>
          <a:prstGeom prst="rect">
            <a:avLst/>
          </a:prstGeom>
        </p:spPr>
        <p:txBody>
          <a:bodyPr>
            <a:normAutofit/>
          </a:bodyPr>
          <a:lstStyle>
            <a:lvl1pPr marL="228589" indent="-228589">
              <a:lnSpc>
                <a:spcPct val="114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1400" b="0" i="0">
                <a:latin typeface="+mn-lt"/>
                <a:cs typeface="Arial Regular"/>
              </a:defRPr>
            </a:lvl1pPr>
            <a:lvl2pPr marL="0" indent="0">
              <a:buSzPct val="100000"/>
              <a:buFontTx/>
              <a:buNone/>
              <a:defRPr sz="2667">
                <a:latin typeface="Gotham Thin" pitchFamily="50" charset="0"/>
                <a:cs typeface="Gotham Thin" pitchFamily="50" charset="0"/>
              </a:defRPr>
            </a:lvl2pPr>
            <a:lvl3pPr marL="685766" indent="-228589"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400">
                <a:latin typeface="Gotham Thin" pitchFamily="50" charset="0"/>
                <a:cs typeface="Gotham Thin" pitchFamily="50" charset="0"/>
              </a:defRPr>
            </a:lvl3pPr>
            <a:lvl4pPr marL="914354" indent="-228589"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400">
                <a:latin typeface="Gotham Thin" pitchFamily="50" charset="0"/>
                <a:cs typeface="Gotham Thin" pitchFamily="50" charset="0"/>
              </a:defRPr>
            </a:lvl4pPr>
            <a:lvl5pPr marL="1142942" indent="-228589"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400">
                <a:latin typeface="Gotham Thin" pitchFamily="50" charset="0"/>
                <a:cs typeface="Gotham Thin" pitchFamily="50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72062383-77E1-48DF-9DB0-D9F713A14AC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739709" y="1531137"/>
            <a:ext cx="1376184" cy="1347511"/>
          </a:xfrm>
          <a:prstGeom prst="ellipse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467" b="1" i="0">
                <a:solidFill>
                  <a:schemeClr val="tx1"/>
                </a:solidFill>
                <a:latin typeface="Arial Bold"/>
                <a:cs typeface="Arial Bold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0006839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ue Stri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733266" y="365126"/>
            <a:ext cx="9620534" cy="600790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ITLE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3266" y="1159099"/>
            <a:ext cx="9620534" cy="5017864"/>
          </a:xfrm>
        </p:spPr>
        <p:txBody>
          <a:bodyPr/>
          <a:lstStyle>
            <a:lvl1pPr>
              <a:buClr>
                <a:schemeClr val="tx1"/>
              </a:buClr>
              <a:defRPr sz="24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685800" indent="-228600">
              <a:buClr>
                <a:schemeClr val="bg2"/>
              </a:buClr>
              <a:buFont typeface="Courier New" panose="02070309020205020404" pitchFamily="49" charset="0"/>
              <a:buChar char="o"/>
              <a:defRPr sz="2100" baseline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2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2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Box 7"/>
          <p:cNvSpPr txBox="1"/>
          <p:nvPr userDrawn="1"/>
        </p:nvSpPr>
        <p:spPr bwMode="auto">
          <a:xfrm>
            <a:off x="1733266" y="6311900"/>
            <a:ext cx="8528334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1C243F"/>
                </a:solidFill>
                <a:effectLst/>
                <a:uLnTx/>
                <a:uFillTx/>
                <a:latin typeface="Arial" panose="020B0604020202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</a:b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1C243F"/>
                </a:solidFill>
                <a:effectLst/>
                <a:uLnTx/>
                <a:uFillTx/>
                <a:latin typeface="Arial" panose="020B0604020202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© CereCore® | CONFIDENTIAL – Contains proprietary information. Not intended for distribution.  </a:t>
            </a:r>
          </a:p>
        </p:txBody>
      </p:sp>
      <p:sp>
        <p:nvSpPr>
          <p:cNvPr id="4" name="Rounded Rectangle 3"/>
          <p:cNvSpPr/>
          <p:nvPr userDrawn="1"/>
        </p:nvSpPr>
        <p:spPr>
          <a:xfrm flipV="1">
            <a:off x="-109182" y="-300250"/>
            <a:ext cx="1378424" cy="6905766"/>
          </a:xfrm>
          <a:prstGeom prst="roundRect">
            <a:avLst/>
          </a:prstGeom>
          <a:gradFill>
            <a:gsLst>
              <a:gs pos="4000">
                <a:srgbClr val="55B6E4"/>
              </a:gs>
              <a:gs pos="33000">
                <a:schemeClr val="bg2"/>
              </a:gs>
              <a:gs pos="83000">
                <a:schemeClr val="bg2"/>
              </a:gs>
              <a:gs pos="100000">
                <a:schemeClr val="bg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EB94CF8-CBE1-425B-B805-64B928486D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854" b="44669"/>
          <a:stretch/>
        </p:blipFill>
        <p:spPr>
          <a:xfrm>
            <a:off x="9197606" y="6427174"/>
            <a:ext cx="2261666" cy="304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854696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vy Stri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733266" y="365126"/>
            <a:ext cx="9620534" cy="600790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ITLE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3266" y="1159099"/>
            <a:ext cx="9620534" cy="5017864"/>
          </a:xfrm>
        </p:spPr>
        <p:txBody>
          <a:bodyPr/>
          <a:lstStyle>
            <a:lvl1pPr>
              <a:buClr>
                <a:schemeClr val="tx1"/>
              </a:buClr>
              <a:defRPr sz="24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685800" indent="-228600">
              <a:buClr>
                <a:schemeClr val="bg2"/>
              </a:buClr>
              <a:buFont typeface="Courier New" panose="02070309020205020404" pitchFamily="49" charset="0"/>
              <a:buChar char="o"/>
              <a:defRPr sz="2100" baseline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2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2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Box 7"/>
          <p:cNvSpPr txBox="1"/>
          <p:nvPr userDrawn="1"/>
        </p:nvSpPr>
        <p:spPr bwMode="auto">
          <a:xfrm>
            <a:off x="1733266" y="6311900"/>
            <a:ext cx="8528334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1C243F"/>
                </a:solidFill>
                <a:effectLst/>
                <a:uLnTx/>
                <a:uFillTx/>
                <a:latin typeface="Arial" panose="020B0604020202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</a:b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1C243F"/>
                </a:solidFill>
                <a:effectLst/>
                <a:uLnTx/>
                <a:uFillTx/>
                <a:latin typeface="Arial" panose="020B0604020202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© CereCore® | CONFIDENTIAL – Contains proprietary information. Not intended for distribution.  </a:t>
            </a:r>
          </a:p>
        </p:txBody>
      </p:sp>
      <p:sp>
        <p:nvSpPr>
          <p:cNvPr id="9" name="Rounded Rectangle 8"/>
          <p:cNvSpPr/>
          <p:nvPr userDrawn="1"/>
        </p:nvSpPr>
        <p:spPr>
          <a:xfrm flipV="1">
            <a:off x="-109182" y="-300250"/>
            <a:ext cx="1378424" cy="6905766"/>
          </a:xfrm>
          <a:prstGeom prst="roundRect">
            <a:avLst/>
          </a:prstGeom>
          <a:gradFill>
            <a:gsLst>
              <a:gs pos="4000">
                <a:srgbClr val="141D35"/>
              </a:gs>
              <a:gs pos="33000">
                <a:schemeClr val="tx1"/>
              </a:gs>
              <a:gs pos="83000">
                <a:schemeClr val="tx1"/>
              </a:gs>
              <a:gs pos="100000">
                <a:schemeClr val="tx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1E84B96-1BE7-405C-9658-BF544D290E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854" b="44669"/>
          <a:stretch/>
        </p:blipFill>
        <p:spPr>
          <a:xfrm>
            <a:off x="9197606" y="6427174"/>
            <a:ext cx="2261666" cy="304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3470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Mai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94" r="20870"/>
          <a:stretch/>
        </p:blipFill>
        <p:spPr>
          <a:xfrm rot="16200000" flipV="1">
            <a:off x="51515" y="-51515"/>
            <a:ext cx="6851561" cy="6954592"/>
          </a:xfrm>
          <a:prstGeom prst="rect">
            <a:avLst/>
          </a:prstGeom>
        </p:spPr>
      </p:pic>
      <p:sp>
        <p:nvSpPr>
          <p:cNvPr id="5" name="Round Single Corner Rectangle 4"/>
          <p:cNvSpPr/>
          <p:nvPr userDrawn="1"/>
        </p:nvSpPr>
        <p:spPr>
          <a:xfrm rot="10800000">
            <a:off x="6424670" y="-1"/>
            <a:ext cx="5767330" cy="6346771"/>
          </a:xfrm>
          <a:prstGeom prst="round1Rect">
            <a:avLst/>
          </a:prstGeom>
          <a:blipFill dpi="0" rotWithShape="0">
            <a:blip r:embed="rId3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96154" y="4258574"/>
            <a:ext cx="5632361" cy="908431"/>
          </a:xfrm>
        </p:spPr>
        <p:txBody>
          <a:bodyPr anchor="b">
            <a:noAutofit/>
          </a:bodyPr>
          <a:lstStyle>
            <a:lvl1pPr algn="l">
              <a:defRPr sz="7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6154" y="5458800"/>
            <a:ext cx="5632362" cy="403292"/>
          </a:xfrm>
        </p:spPr>
        <p:txBody>
          <a:bodyPr>
            <a:normAutofit/>
          </a:bodyPr>
          <a:lstStyle>
            <a:lvl1pPr marL="0" indent="0" algn="l">
              <a:buNone/>
              <a:defRPr sz="2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, Subject, Sub header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6154" y="5897896"/>
            <a:ext cx="5632361" cy="322263"/>
          </a:xfr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06660542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Yellow Stri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733266" y="365126"/>
            <a:ext cx="9620534" cy="600790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ITLE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3266" y="1159099"/>
            <a:ext cx="9620534" cy="5017864"/>
          </a:xfrm>
        </p:spPr>
        <p:txBody>
          <a:bodyPr/>
          <a:lstStyle>
            <a:lvl1pPr>
              <a:buClr>
                <a:schemeClr val="tx1"/>
              </a:buClr>
              <a:defRPr sz="24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685800" indent="-228600">
              <a:buClr>
                <a:schemeClr val="bg2"/>
              </a:buClr>
              <a:buFont typeface="Courier New" panose="02070309020205020404" pitchFamily="49" charset="0"/>
              <a:buChar char="o"/>
              <a:defRPr sz="2100" baseline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2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2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Box 7"/>
          <p:cNvSpPr txBox="1"/>
          <p:nvPr userDrawn="1"/>
        </p:nvSpPr>
        <p:spPr bwMode="auto">
          <a:xfrm>
            <a:off x="1733266" y="6311900"/>
            <a:ext cx="8528334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1C243F"/>
                </a:solidFill>
                <a:effectLst/>
                <a:uLnTx/>
                <a:uFillTx/>
                <a:latin typeface="Arial" panose="020B0604020202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</a:b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1C243F"/>
                </a:solidFill>
                <a:effectLst/>
                <a:uLnTx/>
                <a:uFillTx/>
                <a:latin typeface="Arial" panose="020B0604020202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© CereCore® | CONFIDENTIAL – Contains proprietary information. Not intended for distribution.  </a:t>
            </a:r>
          </a:p>
        </p:txBody>
      </p:sp>
      <p:sp>
        <p:nvSpPr>
          <p:cNvPr id="9" name="Rounded Rectangle 8"/>
          <p:cNvSpPr/>
          <p:nvPr userDrawn="1"/>
        </p:nvSpPr>
        <p:spPr>
          <a:xfrm>
            <a:off x="-109182" y="-300250"/>
            <a:ext cx="1378424" cy="6905766"/>
          </a:xfrm>
          <a:prstGeom prst="roundRect">
            <a:avLst/>
          </a:prstGeom>
          <a:gradFill>
            <a:gsLst>
              <a:gs pos="4000">
                <a:srgbClr val="FEECBB"/>
              </a:gs>
              <a:gs pos="33000">
                <a:schemeClr val="accent1"/>
              </a:gs>
              <a:gs pos="83000">
                <a:schemeClr val="accent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892CF62-1C88-4D6D-B3A5-687487C039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854" b="44669"/>
          <a:stretch/>
        </p:blipFill>
        <p:spPr>
          <a:xfrm>
            <a:off x="9197606" y="6427174"/>
            <a:ext cx="2261666" cy="304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421744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Image/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941" t="1538" r="16200"/>
          <a:stretch/>
        </p:blipFill>
        <p:spPr>
          <a:xfrm>
            <a:off x="-1" y="480912"/>
            <a:ext cx="3712191" cy="5830988"/>
          </a:xfrm>
          <a:prstGeom prst="round2Diag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39989" y="1379292"/>
            <a:ext cx="7223872" cy="4932608"/>
          </a:xfrm>
        </p:spPr>
        <p:txBody>
          <a:bodyPr/>
          <a:lstStyle>
            <a:lvl1pPr indent="-228600" algn="l" defTabSz="914400" rtl="0" eaLnBrk="1" latinLnBrk="0" hangingPunct="1">
              <a:lnSpc>
                <a:spcPct val="90000"/>
              </a:lnSpc>
              <a:defRPr lang="en-US" sz="2400" kern="1200" dirty="0" smtClean="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>
              <a:defRPr lang="en-US" sz="2100" kern="1200" baseline="0" dirty="0" smtClean="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marL="685800" lvl="1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Courier New" panose="02070309020205020404" pitchFamily="49" charset="0"/>
              <a:buChar char="o"/>
            </a:pPr>
            <a:r>
              <a:rPr lang="en-US"/>
              <a:t>Secon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339989" y="480912"/>
            <a:ext cx="7222013" cy="600790"/>
          </a:xfrm>
        </p:spPr>
        <p:txBody>
          <a:bodyPr>
            <a:normAutofit/>
          </a:bodyPr>
          <a:lstStyle>
            <a:lvl1pPr>
              <a:defRPr sz="2800" b="1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ITLE HERE</a:t>
            </a:r>
          </a:p>
        </p:txBody>
      </p:sp>
      <p:sp>
        <p:nvSpPr>
          <p:cNvPr id="7" name="TextBox 6"/>
          <p:cNvSpPr txBox="1"/>
          <p:nvPr userDrawn="1"/>
        </p:nvSpPr>
        <p:spPr bwMode="auto">
          <a:xfrm>
            <a:off x="4217159" y="6311900"/>
            <a:ext cx="5947368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1C243F"/>
                </a:solidFill>
                <a:effectLst/>
                <a:uLnTx/>
                <a:uFillTx/>
                <a:latin typeface="Arial" panose="020B0604020202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</a:b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1C243F"/>
                </a:solidFill>
                <a:effectLst/>
                <a:uLnTx/>
                <a:uFillTx/>
                <a:latin typeface="Arial" panose="020B0604020202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© CereCore® | CONFIDENTIAL – Contains proprietary information. Not intended for distribution. 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3F84D92-1923-4947-B9B2-B5D8ACABEF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854" b="44669"/>
          <a:stretch/>
        </p:blipFill>
        <p:spPr>
          <a:xfrm>
            <a:off x="9409638" y="6427174"/>
            <a:ext cx="2261666" cy="304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659688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Image/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318039" y="365126"/>
            <a:ext cx="7092694" cy="600790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ITLE HER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18039" y="1159099"/>
            <a:ext cx="7092694" cy="5017864"/>
          </a:xfrm>
        </p:spPr>
        <p:txBody>
          <a:bodyPr/>
          <a:lstStyle>
            <a:lvl1pPr>
              <a:buClr>
                <a:schemeClr val="tx1"/>
              </a:buClr>
              <a:defRPr sz="24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685800" indent="-228600">
              <a:buClr>
                <a:schemeClr val="bg2"/>
              </a:buClr>
              <a:buFont typeface="Courier New" panose="02070309020205020404" pitchFamily="49" charset="0"/>
              <a:buChar char="o"/>
              <a:defRPr sz="2100" baseline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2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2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Box 12"/>
          <p:cNvSpPr txBox="1"/>
          <p:nvPr userDrawn="1"/>
        </p:nvSpPr>
        <p:spPr bwMode="auto">
          <a:xfrm>
            <a:off x="2402006" y="6311900"/>
            <a:ext cx="5158968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1C243F"/>
                </a:solidFill>
                <a:effectLst/>
                <a:uLnTx/>
                <a:uFillTx/>
                <a:latin typeface="Arial" panose="020B0604020202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</a:b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1C243F"/>
                </a:solidFill>
                <a:effectLst/>
                <a:uLnTx/>
                <a:uFillTx/>
                <a:latin typeface="Arial" panose="020B0604020202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© CereCore® | CONFIDENTIAL – Contains proprietary information. Not intended for distribution.  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38" r="9362"/>
          <a:stretch/>
        </p:blipFill>
        <p:spPr>
          <a:xfrm>
            <a:off x="7717132" y="1542438"/>
            <a:ext cx="4474868" cy="3839062"/>
          </a:xfrm>
          <a:prstGeom prst="round2Diag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593D143-E9F0-4DA9-B7BD-659BB7D819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854" b="44669"/>
          <a:stretch/>
        </p:blipFill>
        <p:spPr>
          <a:xfrm>
            <a:off x="225275" y="6400799"/>
            <a:ext cx="2261666" cy="304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020526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ight Image/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702BFC4-EFED-43E8-BA57-905065FB417E}"/>
              </a:ext>
            </a:extLst>
          </p:cNvPr>
          <p:cNvSpPr/>
          <p:nvPr userDrawn="1"/>
        </p:nvSpPr>
        <p:spPr>
          <a:xfrm>
            <a:off x="8679659" y="0"/>
            <a:ext cx="3205942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318039" y="365126"/>
            <a:ext cx="7092694" cy="600790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ITLE HER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18039" y="1159099"/>
            <a:ext cx="7092694" cy="5017864"/>
          </a:xfrm>
        </p:spPr>
        <p:txBody>
          <a:bodyPr/>
          <a:lstStyle>
            <a:lvl1pPr>
              <a:buClr>
                <a:schemeClr val="tx1"/>
              </a:buClr>
              <a:defRPr sz="24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685800" indent="-228600">
              <a:buClr>
                <a:schemeClr val="bg2"/>
              </a:buClr>
              <a:buFont typeface="Courier New" panose="02070309020205020404" pitchFamily="49" charset="0"/>
              <a:buChar char="o"/>
              <a:defRPr sz="2100" baseline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2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2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Box 12"/>
          <p:cNvSpPr txBox="1"/>
          <p:nvPr userDrawn="1"/>
        </p:nvSpPr>
        <p:spPr bwMode="auto">
          <a:xfrm>
            <a:off x="2402006" y="6311900"/>
            <a:ext cx="5158968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1C243F"/>
                </a:solidFill>
                <a:effectLst/>
                <a:uLnTx/>
                <a:uFillTx/>
                <a:latin typeface="Arial" panose="020B0604020202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</a:b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1C243F"/>
                </a:solidFill>
                <a:effectLst/>
                <a:uLnTx/>
                <a:uFillTx/>
                <a:latin typeface="Arial" panose="020B0604020202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© CereCore® | CONFIDENTIAL – Contains proprietary information. Not intended for distribution.  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38" r="9362"/>
          <a:stretch/>
        </p:blipFill>
        <p:spPr>
          <a:xfrm>
            <a:off x="7410733" y="1509469"/>
            <a:ext cx="4474868" cy="3839062"/>
          </a:xfrm>
          <a:prstGeom prst="round2Diag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593D143-E9F0-4DA9-B7BD-659BB7D819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854" b="44669"/>
          <a:stretch/>
        </p:blipFill>
        <p:spPr>
          <a:xfrm>
            <a:off x="225275" y="6400799"/>
            <a:ext cx="2261666" cy="304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875532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Ma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5EE2AB0-8506-47DD-BD30-9E9E365BDD60}"/>
              </a:ext>
            </a:extLst>
          </p:cNvPr>
          <p:cNvSpPr/>
          <p:nvPr userDrawn="1"/>
        </p:nvSpPr>
        <p:spPr>
          <a:xfrm>
            <a:off x="838200" y="6076604"/>
            <a:ext cx="5853546" cy="78139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Speech Bubble: Rectangle 3">
            <a:extLst>
              <a:ext uri="{FF2B5EF4-FFF2-40B4-BE49-F238E27FC236}">
                <a16:creationId xmlns:a16="http://schemas.microsoft.com/office/drawing/2014/main" id="{A7EC4339-D4F8-4C1A-B173-D4D9274876FC}"/>
              </a:ext>
            </a:extLst>
          </p:cNvPr>
          <p:cNvSpPr/>
          <p:nvPr userDrawn="1"/>
        </p:nvSpPr>
        <p:spPr>
          <a:xfrm rot="16200000">
            <a:off x="676491" y="161707"/>
            <a:ext cx="6176964" cy="5853545"/>
          </a:xfrm>
          <a:prstGeom prst="wedgeRectCallout">
            <a:avLst>
              <a:gd name="adj1" fmla="val -20692"/>
              <a:gd name="adj2" fmla="val 67659"/>
            </a:avLst>
          </a:prstGeom>
          <a:solidFill>
            <a:srgbClr val="141D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1171188-CE3A-42BA-B7C7-2032392C2ED5}"/>
              </a:ext>
            </a:extLst>
          </p:cNvPr>
          <p:cNvSpPr/>
          <p:nvPr userDrawn="1"/>
        </p:nvSpPr>
        <p:spPr>
          <a:xfrm>
            <a:off x="8658629" y="0"/>
            <a:ext cx="3205942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600790"/>
          </a:xfrm>
        </p:spPr>
        <p:txBody>
          <a:bodyPr>
            <a:normAutofit/>
          </a:bodyPr>
          <a:lstStyle>
            <a:lvl1pPr>
              <a:defRPr sz="2800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ITLE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159098"/>
            <a:ext cx="5853546" cy="5017864"/>
          </a:xfrm>
        </p:spPr>
        <p:txBody>
          <a:bodyPr/>
          <a:lstStyle>
            <a:lvl1pPr>
              <a:buClr>
                <a:schemeClr val="tx1"/>
              </a:buClr>
              <a:defRPr sz="240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685800" indent="-228600">
              <a:buClr>
                <a:schemeClr val="bg2"/>
              </a:buClr>
              <a:buFont typeface="Courier New" panose="02070309020205020404" pitchFamily="49" charset="0"/>
              <a:buChar char="o"/>
              <a:defRPr sz="2100" baseline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2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2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Box 5"/>
          <p:cNvSpPr txBox="1"/>
          <p:nvPr userDrawn="1"/>
        </p:nvSpPr>
        <p:spPr bwMode="auto">
          <a:xfrm>
            <a:off x="721217" y="6311900"/>
            <a:ext cx="9540383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1C243F"/>
                </a:solidFill>
                <a:effectLst/>
                <a:uLnTx/>
                <a:uFillTx/>
                <a:latin typeface="Arial" panose="020B0604020202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</a:b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1C243F"/>
                </a:solidFill>
                <a:effectLst/>
                <a:uLnTx/>
                <a:uFillTx/>
                <a:latin typeface="Arial" panose="020B0604020202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© CereCore® | CONFIDENTIAL – Contains proprietary information. Not intended for distribution. 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CAD7E5F-3542-40E5-8824-F6DB83427C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854" b="44669"/>
          <a:stretch/>
        </p:blipFill>
        <p:spPr>
          <a:xfrm>
            <a:off x="9197606" y="6427174"/>
            <a:ext cx="2261666" cy="304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63401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Image/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31027" y="1249251"/>
            <a:ext cx="7078498" cy="4932608"/>
          </a:xfrm>
        </p:spPr>
        <p:txBody>
          <a:bodyPr/>
          <a:lstStyle>
            <a:lvl1pPr indent="-228600" algn="l" defTabSz="914400" rtl="0" eaLnBrk="1" latinLnBrk="0" hangingPunct="1">
              <a:lnSpc>
                <a:spcPct val="90000"/>
              </a:lnSpc>
              <a:defRPr lang="en-US" sz="2400" kern="1200" dirty="0" smtClean="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>
              <a:defRPr lang="en-US" sz="2100" kern="1200" baseline="0" dirty="0" smtClean="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marL="685800" lvl="1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Courier New" panose="02070309020205020404" pitchFamily="49" charset="0"/>
              <a:buChar char="o"/>
            </a:pPr>
            <a:r>
              <a:rPr lang="en-US"/>
              <a:t>Secon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729439" y="365126"/>
            <a:ext cx="7078498" cy="600790"/>
          </a:xfrm>
        </p:spPr>
        <p:txBody>
          <a:bodyPr>
            <a:normAutofit/>
          </a:bodyPr>
          <a:lstStyle>
            <a:lvl1pPr>
              <a:defRPr sz="2800" b="1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ITLE HERE</a:t>
            </a:r>
          </a:p>
        </p:txBody>
      </p:sp>
      <p:sp>
        <p:nvSpPr>
          <p:cNvPr id="7" name="TextBox 6"/>
          <p:cNvSpPr txBox="1"/>
          <p:nvPr userDrawn="1"/>
        </p:nvSpPr>
        <p:spPr bwMode="auto">
          <a:xfrm>
            <a:off x="4601107" y="6311900"/>
            <a:ext cx="5537939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1C243F"/>
                </a:solidFill>
                <a:effectLst/>
                <a:uLnTx/>
                <a:uFillTx/>
                <a:latin typeface="Arial" panose="020B0604020202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</a:b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1C243F"/>
                </a:solidFill>
                <a:effectLst/>
                <a:uLnTx/>
                <a:uFillTx/>
                <a:latin typeface="Arial" panose="020B0604020202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© CereCore® | CONFIDENTIAL – Contains proprietary information. Not intended for distribution.  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52" t="310" r="27729" b="-310"/>
          <a:stretch/>
        </p:blipFill>
        <p:spPr>
          <a:xfrm>
            <a:off x="1" y="1249251"/>
            <a:ext cx="4267200" cy="4543425"/>
          </a:xfrm>
          <a:prstGeom prst="round2Diag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B66B83F-BFAB-4276-B530-C334A47AA1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854" b="44669"/>
          <a:stretch/>
        </p:blipFill>
        <p:spPr>
          <a:xfrm>
            <a:off x="9661429" y="6400799"/>
            <a:ext cx="2261666" cy="304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396597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49" r="20870"/>
          <a:stretch/>
        </p:blipFill>
        <p:spPr>
          <a:xfrm rot="10800000">
            <a:off x="-13253" y="-1"/>
            <a:ext cx="12258262" cy="695459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2B1CC77-50F8-4030-B733-4B28C696E3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477"/>
          <a:stretch/>
        </p:blipFill>
        <p:spPr>
          <a:xfrm>
            <a:off x="4672103" y="5112755"/>
            <a:ext cx="2847794" cy="1385526"/>
          </a:xfrm>
          <a:prstGeom prst="rect">
            <a:avLst/>
          </a:prstGeom>
        </p:spPr>
      </p:pic>
      <p:sp>
        <p:nvSpPr>
          <p:cNvPr id="7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2505" y="717010"/>
            <a:ext cx="11066745" cy="3939435"/>
          </a:xfrm>
        </p:spPr>
        <p:txBody>
          <a:bodyPr anchor="ctr">
            <a:normAutofit/>
          </a:bodyPr>
          <a:lstStyle>
            <a:lvl1pPr marL="0" indent="0" algn="ctr">
              <a:buNone/>
              <a:defRPr sz="7200" b="1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800" b="1">
                <a:solidFill>
                  <a:schemeClr val="bg1"/>
                </a:solidFill>
              </a:defRPr>
            </a:lvl2pPr>
            <a:lvl3pPr marL="914400" indent="0" algn="ctr">
              <a:buNone/>
              <a:defRPr sz="2400" b="1">
                <a:solidFill>
                  <a:schemeClr val="bg1"/>
                </a:solidFill>
              </a:defRPr>
            </a:lvl3pPr>
            <a:lvl4pPr marL="1371600" indent="0" algn="ctr">
              <a:buNone/>
              <a:defRPr sz="2000" b="1">
                <a:solidFill>
                  <a:schemeClr val="bg1"/>
                </a:solidFill>
              </a:defRPr>
            </a:lvl4pPr>
            <a:lvl5pPr marL="1828800" indent="0" algn="ctr">
              <a:buNone/>
              <a:defRPr sz="2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CTION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185957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49" r="20870"/>
          <a:stretch/>
        </p:blipFill>
        <p:spPr>
          <a:xfrm rot="10800000">
            <a:off x="-13253" y="-1"/>
            <a:ext cx="12258262" cy="6954592"/>
          </a:xfrm>
          <a:prstGeom prst="rect">
            <a:avLst/>
          </a:prstGeom>
        </p:spPr>
      </p:pic>
      <p:sp>
        <p:nvSpPr>
          <p:cNvPr id="3" name="Oval 2"/>
          <p:cNvSpPr/>
          <p:nvPr userDrawn="1"/>
        </p:nvSpPr>
        <p:spPr>
          <a:xfrm flipV="1">
            <a:off x="5310659" y="1817778"/>
            <a:ext cx="1610436" cy="1610436"/>
          </a:xfrm>
          <a:prstGeom prst="ellipse">
            <a:avLst/>
          </a:prstGeom>
          <a:gradFill>
            <a:gsLst>
              <a:gs pos="4000">
                <a:srgbClr val="55B6E4"/>
              </a:gs>
              <a:gs pos="33000">
                <a:schemeClr val="bg2"/>
              </a:gs>
              <a:gs pos="83000">
                <a:schemeClr val="bg2"/>
              </a:gs>
              <a:gs pos="100000">
                <a:schemeClr val="bg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5" name="TextBox 4"/>
          <p:cNvSpPr txBox="1"/>
          <p:nvPr userDrawn="1"/>
        </p:nvSpPr>
        <p:spPr>
          <a:xfrm>
            <a:off x="4882196" y="3502162"/>
            <a:ext cx="246736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8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&amp;A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0075" y="1937194"/>
            <a:ext cx="1371603" cy="1371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40686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7DA518E1-C8D9-4C9B-9D47-6648AE0F4A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854" b="44669"/>
          <a:stretch/>
        </p:blipFill>
        <p:spPr>
          <a:xfrm>
            <a:off x="9206086" y="6411949"/>
            <a:ext cx="2261666" cy="304801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726213" y="1098952"/>
            <a:ext cx="624385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8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YOU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7144" y="3136887"/>
            <a:ext cx="579788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Connect with us</a:t>
            </a:r>
          </a:p>
          <a:p>
            <a:r>
              <a:rPr lang="en-US" sz="2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@CereCore</a:t>
            </a:r>
            <a:endParaRPr lang="en-US" sz="2000" b="0" kern="1200" baseline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3996763"/>
            <a:ext cx="1161246" cy="122323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6908" y="4134841"/>
            <a:ext cx="899087" cy="947080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6273154" y="4933208"/>
            <a:ext cx="8069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LinkedIn</a:t>
            </a:r>
            <a:endParaRPr lang="en-US" sz="1050" b="0" kern="1200" baseline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7831358" y="4927874"/>
            <a:ext cx="6806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X</a:t>
            </a:r>
            <a:endParaRPr lang="en-US" sz="1050" b="0" kern="1200" baseline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7030263" y="4929233"/>
            <a:ext cx="8280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Facebook</a:t>
            </a:r>
            <a:endParaRPr lang="en-US" sz="1050" b="0" kern="1200" baseline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" name="TextBox 22"/>
          <p:cNvSpPr txBox="1"/>
          <p:nvPr userDrawn="1"/>
        </p:nvSpPr>
        <p:spPr bwMode="auto">
          <a:xfrm>
            <a:off x="721217" y="6311900"/>
            <a:ext cx="9540383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1C243F"/>
                </a:solidFill>
                <a:effectLst/>
                <a:uLnTx/>
                <a:uFillTx/>
                <a:latin typeface="Arial" panose="020B0604020202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</a:b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1C243F"/>
                </a:solidFill>
                <a:effectLst/>
                <a:uLnTx/>
                <a:uFillTx/>
                <a:latin typeface="Arial" panose="020B0604020202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© CereCore® | CONFIDENTIAL – Contains proprietary information. Not intended for distribution.  </a:t>
            </a:r>
          </a:p>
        </p:txBody>
      </p:sp>
      <p:sp>
        <p:nvSpPr>
          <p:cNvPr id="21" name="object 3"/>
          <p:cNvSpPr/>
          <p:nvPr userDrawn="1"/>
        </p:nvSpPr>
        <p:spPr>
          <a:xfrm flipV="1">
            <a:off x="844660" y="2461301"/>
            <a:ext cx="1097280" cy="112477"/>
          </a:xfrm>
          <a:custGeom>
            <a:avLst/>
            <a:gdLst/>
            <a:ahLst/>
            <a:cxnLst/>
            <a:rect l="l" t="t" r="r" b="b"/>
            <a:pathLst>
              <a:path w="572770">
                <a:moveTo>
                  <a:pt x="0" y="0"/>
                </a:moveTo>
                <a:lnTo>
                  <a:pt x="572770" y="0"/>
                </a:lnTo>
              </a:path>
            </a:pathLst>
          </a:custGeom>
          <a:ln w="44450" cap="rnd">
            <a:solidFill>
              <a:srgbClr val="FDD566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-128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49BB612-7DFA-42BA-B86D-764BDB3268F7}"/>
              </a:ext>
            </a:extLst>
          </p:cNvPr>
          <p:cNvSpPr txBox="1"/>
          <p:nvPr userDrawn="1"/>
        </p:nvSpPr>
        <p:spPr>
          <a:xfrm>
            <a:off x="758570" y="3136887"/>
            <a:ext cx="579788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Contact us</a:t>
            </a: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8DD724FD-F2FB-408E-BE21-7C377311DAC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570" y="3805871"/>
            <a:ext cx="580524" cy="580524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0C29A43F-D647-47C9-B24E-C8FD49F5032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570" y="4444820"/>
            <a:ext cx="580524" cy="580524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B571F9F8-D828-453E-B27B-33E08034EA22}"/>
              </a:ext>
            </a:extLst>
          </p:cNvPr>
          <p:cNvSpPr txBox="1"/>
          <p:nvPr userDrawn="1"/>
        </p:nvSpPr>
        <p:spPr>
          <a:xfrm>
            <a:off x="1365677" y="3904559"/>
            <a:ext cx="3229762" cy="37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>
                <a:solidFill>
                  <a:srgbClr val="EE3724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fo@cerecoreintl.net</a:t>
            </a:r>
            <a:r>
              <a:rPr lang="en-GB">
                <a:solidFill>
                  <a:srgbClr val="EE3724"/>
                </a:solidFill>
              </a:rPr>
              <a:t> 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F25F62F5-11ED-4227-B9B1-AFE1A367F10B}"/>
              </a:ext>
            </a:extLst>
          </p:cNvPr>
          <p:cNvSpPr txBox="1"/>
          <p:nvPr userDrawn="1"/>
        </p:nvSpPr>
        <p:spPr>
          <a:xfrm>
            <a:off x="1365676" y="4530047"/>
            <a:ext cx="36656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>
                <a:solidFill>
                  <a:schemeClr val="tx2"/>
                </a:solidFill>
                <a:hlinkClick r:id="rId8"/>
              </a:rPr>
              <a:t>https://cerecoreinternational.net/</a:t>
            </a:r>
            <a:r>
              <a:rPr lang="en-GB">
                <a:solidFill>
                  <a:schemeClr val="tx2"/>
                </a:solidFill>
              </a:rPr>
              <a:t> </a:t>
            </a:r>
          </a:p>
        </p:txBody>
      </p:sp>
      <p:pic>
        <p:nvPicPr>
          <p:cNvPr id="19" name="Picture 18" descr="A blue x on a black background&#10;&#10;Description automatically generated">
            <a:extLst>
              <a:ext uri="{FF2B5EF4-FFF2-40B4-BE49-F238E27FC236}">
                <a16:creationId xmlns:a16="http://schemas.microsoft.com/office/drawing/2014/main" id="{B8248AFE-BE40-4502-BB22-8CBDD8B775E8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9858" y="4386395"/>
            <a:ext cx="483616" cy="483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695417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7DA518E1-C8D9-4C9B-9D47-6648AE0F4A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854" b="44669"/>
          <a:stretch/>
        </p:blipFill>
        <p:spPr>
          <a:xfrm>
            <a:off x="9206086" y="6411949"/>
            <a:ext cx="2261666" cy="304801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726213" y="1098952"/>
            <a:ext cx="624385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8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YOU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794451" y="2782072"/>
            <a:ext cx="610737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Connect with us.</a:t>
            </a:r>
          </a:p>
          <a:p>
            <a:r>
              <a:rPr lang="en-US" sz="2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@CereCore</a:t>
            </a:r>
            <a:endParaRPr lang="en-US" sz="2000" b="0" kern="1200" baseline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494" y="3766643"/>
            <a:ext cx="1223233" cy="122323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6560" y="3904721"/>
            <a:ext cx="947080" cy="94708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3592" y="3907963"/>
            <a:ext cx="914837" cy="914837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753104" y="4653210"/>
            <a:ext cx="8500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LinkedIn</a:t>
            </a:r>
            <a:endParaRPr lang="en-US" sz="1050" b="0" kern="1200" baseline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2394485" y="4647876"/>
            <a:ext cx="7169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Twitter</a:t>
            </a:r>
            <a:endParaRPr lang="en-US" sz="1050" b="0" kern="1200" baseline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550628" y="4649235"/>
            <a:ext cx="87221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Facebook</a:t>
            </a:r>
            <a:endParaRPr lang="en-US" sz="1050" b="0" kern="1200" baseline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6" name="Hexagon 25"/>
          <p:cNvSpPr/>
          <p:nvPr userDrawn="1"/>
        </p:nvSpPr>
        <p:spPr>
          <a:xfrm>
            <a:off x="8765492" y="-74423"/>
            <a:ext cx="3301956" cy="2846513"/>
          </a:xfrm>
          <a:prstGeom prst="hexagon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Hexagon 26"/>
          <p:cNvSpPr/>
          <p:nvPr userDrawn="1"/>
        </p:nvSpPr>
        <p:spPr>
          <a:xfrm>
            <a:off x="10755144" y="2906296"/>
            <a:ext cx="1254809" cy="1054093"/>
          </a:xfrm>
          <a:prstGeom prst="hexagon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Hexagon 27"/>
          <p:cNvSpPr/>
          <p:nvPr userDrawn="1"/>
        </p:nvSpPr>
        <p:spPr>
          <a:xfrm>
            <a:off x="10935999" y="4684237"/>
            <a:ext cx="893098" cy="769912"/>
          </a:xfrm>
          <a:prstGeom prst="hexagon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Hexagon 28"/>
          <p:cNvSpPr/>
          <p:nvPr userDrawn="1"/>
        </p:nvSpPr>
        <p:spPr>
          <a:xfrm>
            <a:off x="9108770" y="2277720"/>
            <a:ext cx="1254809" cy="1054093"/>
          </a:xfrm>
          <a:prstGeom prst="hexagon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Hexagon 29"/>
          <p:cNvSpPr/>
          <p:nvPr userDrawn="1"/>
        </p:nvSpPr>
        <p:spPr>
          <a:xfrm>
            <a:off x="11313976" y="1989921"/>
            <a:ext cx="1254809" cy="1054093"/>
          </a:xfrm>
          <a:prstGeom prst="hexagon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Hexagon 30"/>
          <p:cNvSpPr/>
          <p:nvPr userDrawn="1"/>
        </p:nvSpPr>
        <p:spPr>
          <a:xfrm>
            <a:off x="9534692" y="5069193"/>
            <a:ext cx="893098" cy="769912"/>
          </a:xfrm>
          <a:prstGeom prst="hexagon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Hexagon 31"/>
          <p:cNvSpPr/>
          <p:nvPr userDrawn="1"/>
        </p:nvSpPr>
        <p:spPr>
          <a:xfrm>
            <a:off x="9555151" y="3060411"/>
            <a:ext cx="1722638" cy="1447089"/>
          </a:xfrm>
          <a:prstGeom prst="hexagon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Hexagon 32"/>
          <p:cNvSpPr/>
          <p:nvPr userDrawn="1"/>
        </p:nvSpPr>
        <p:spPr>
          <a:xfrm>
            <a:off x="8291759" y="4730605"/>
            <a:ext cx="1722638" cy="1447089"/>
          </a:xfrm>
          <a:prstGeom prst="hexagon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/>
          <p:cNvSpPr txBox="1"/>
          <p:nvPr userDrawn="1"/>
        </p:nvSpPr>
        <p:spPr bwMode="auto">
          <a:xfrm>
            <a:off x="721217" y="6311900"/>
            <a:ext cx="9540383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1C243F"/>
                </a:solidFill>
                <a:effectLst/>
                <a:uLnTx/>
                <a:uFillTx/>
                <a:latin typeface="Arial" panose="020B0604020202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</a:b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1C243F"/>
                </a:solidFill>
                <a:effectLst/>
                <a:uLnTx/>
                <a:uFillTx/>
                <a:latin typeface="Arial" panose="020B0604020202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© CereCore® | CONFIDENTIAL – Contains proprietary information. Not intended for distribution.  </a:t>
            </a:r>
          </a:p>
        </p:txBody>
      </p:sp>
      <p:sp>
        <p:nvSpPr>
          <p:cNvPr id="21" name="object 3"/>
          <p:cNvSpPr/>
          <p:nvPr userDrawn="1"/>
        </p:nvSpPr>
        <p:spPr>
          <a:xfrm flipV="1">
            <a:off x="844660" y="2461301"/>
            <a:ext cx="1097280" cy="112477"/>
          </a:xfrm>
          <a:custGeom>
            <a:avLst/>
            <a:gdLst/>
            <a:ahLst/>
            <a:cxnLst/>
            <a:rect l="l" t="t" r="r" b="b"/>
            <a:pathLst>
              <a:path w="572770">
                <a:moveTo>
                  <a:pt x="0" y="0"/>
                </a:moveTo>
                <a:lnTo>
                  <a:pt x="572770" y="0"/>
                </a:lnTo>
              </a:path>
            </a:pathLst>
          </a:custGeom>
          <a:ln w="44450" cap="rnd">
            <a:solidFill>
              <a:srgbClr val="FDD566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3903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i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94" r="20870"/>
          <a:stretch/>
        </p:blipFill>
        <p:spPr>
          <a:xfrm rot="16200000" flipV="1">
            <a:off x="51515" y="-51515"/>
            <a:ext cx="6851561" cy="6954592"/>
          </a:xfrm>
          <a:prstGeom prst="rect">
            <a:avLst/>
          </a:prstGeom>
        </p:spPr>
      </p:pic>
      <p:sp>
        <p:nvSpPr>
          <p:cNvPr id="5" name="Round Single Corner Rectangle 4"/>
          <p:cNvSpPr/>
          <p:nvPr userDrawn="1"/>
        </p:nvSpPr>
        <p:spPr>
          <a:xfrm rot="10800000">
            <a:off x="5237406" y="-4"/>
            <a:ext cx="6954594" cy="5500521"/>
          </a:xfrm>
          <a:prstGeom prst="round1Rect">
            <a:avLst/>
          </a:prstGeom>
          <a:blipFill dpi="0" rotWithShape="0">
            <a:blip r:embed="rId3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96154" y="4258574"/>
            <a:ext cx="5632361" cy="908431"/>
          </a:xfrm>
        </p:spPr>
        <p:txBody>
          <a:bodyPr anchor="b">
            <a:noAutofit/>
          </a:bodyPr>
          <a:lstStyle>
            <a:lvl1pPr algn="l">
              <a:defRPr sz="7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6154" y="5458800"/>
            <a:ext cx="5632362" cy="403292"/>
          </a:xfrm>
        </p:spPr>
        <p:txBody>
          <a:bodyPr>
            <a:normAutofit/>
          </a:bodyPr>
          <a:lstStyle>
            <a:lvl1pPr marL="0" indent="0" algn="l">
              <a:buNone/>
              <a:defRPr sz="2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, Subject, Sub header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6154" y="5897896"/>
            <a:ext cx="5632361" cy="322263"/>
          </a:xfr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40100659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2CF8AB-288C-4E6E-901C-2BC6AD27B6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DDA5BB-D44A-4650-B208-0FBF4012A4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E250F3-3C7A-43E5-8FD6-38E9F7B73218}" type="datetimeFigureOut">
              <a:rPr lang="en-US" smtClean="0"/>
              <a:t>9/30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CE09C53-49A8-4A42-BC60-4D63272EEE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A49A68A-380A-4107-87D7-3953A2FDD6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038318-8689-40B2-BA55-5AB105E9E3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71786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Mai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94" r="20870"/>
          <a:stretch/>
        </p:blipFill>
        <p:spPr>
          <a:xfrm rot="16200000" flipV="1">
            <a:off x="51515" y="-51515"/>
            <a:ext cx="6851561" cy="6954592"/>
          </a:xfrm>
          <a:prstGeom prst="rect">
            <a:avLst/>
          </a:prstGeom>
        </p:spPr>
      </p:pic>
      <p:sp>
        <p:nvSpPr>
          <p:cNvPr id="5" name="Round Single Corner Rectangle 4"/>
          <p:cNvSpPr/>
          <p:nvPr userDrawn="1"/>
        </p:nvSpPr>
        <p:spPr>
          <a:xfrm rot="10800000">
            <a:off x="6424670" y="-1"/>
            <a:ext cx="5767330" cy="6346771"/>
          </a:xfrm>
          <a:prstGeom prst="round1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96154" y="4258574"/>
            <a:ext cx="5632361" cy="908431"/>
          </a:xfrm>
        </p:spPr>
        <p:txBody>
          <a:bodyPr anchor="b">
            <a:noAutofit/>
          </a:bodyPr>
          <a:lstStyle>
            <a:lvl1pPr algn="l">
              <a:defRPr sz="7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6154" y="5458800"/>
            <a:ext cx="5632362" cy="403292"/>
          </a:xfrm>
        </p:spPr>
        <p:txBody>
          <a:bodyPr>
            <a:normAutofit/>
          </a:bodyPr>
          <a:lstStyle>
            <a:lvl1pPr marL="0" indent="0" algn="l">
              <a:buNone/>
              <a:defRPr sz="2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, Subject, Sub header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6154" y="5897896"/>
            <a:ext cx="5632361" cy="322263"/>
          </a:xfr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DAT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EBC156B-CD06-4D13-ADEC-0BB87C634F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01" r="18265"/>
          <a:stretch/>
        </p:blipFill>
        <p:spPr>
          <a:xfrm>
            <a:off x="6720676" y="952107"/>
            <a:ext cx="5175317" cy="4625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44645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Mai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94" r="20870"/>
          <a:stretch/>
        </p:blipFill>
        <p:spPr>
          <a:xfrm rot="16200000" flipV="1">
            <a:off x="51515" y="-51515"/>
            <a:ext cx="6851561" cy="6954592"/>
          </a:xfrm>
          <a:prstGeom prst="rect">
            <a:avLst/>
          </a:prstGeom>
        </p:spPr>
      </p:pic>
      <p:sp>
        <p:nvSpPr>
          <p:cNvPr id="5" name="Round Single Corner Rectangle 4"/>
          <p:cNvSpPr/>
          <p:nvPr userDrawn="1"/>
        </p:nvSpPr>
        <p:spPr>
          <a:xfrm rot="10800000">
            <a:off x="4864626" y="6438"/>
            <a:ext cx="7327374" cy="5211330"/>
          </a:xfrm>
          <a:prstGeom prst="round1Rect">
            <a:avLst>
              <a:gd name="adj" fmla="val 16667"/>
            </a:avLst>
          </a:prstGeom>
          <a:blipFill dpi="0" rotWithShape="0">
            <a:blip r:embed="rId3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96154" y="4258574"/>
            <a:ext cx="5632361" cy="908431"/>
          </a:xfrm>
        </p:spPr>
        <p:txBody>
          <a:bodyPr anchor="b">
            <a:noAutofit/>
          </a:bodyPr>
          <a:lstStyle>
            <a:lvl1pPr algn="l">
              <a:defRPr sz="7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6154" y="5458800"/>
            <a:ext cx="5632362" cy="403292"/>
          </a:xfrm>
        </p:spPr>
        <p:txBody>
          <a:bodyPr>
            <a:normAutofit/>
          </a:bodyPr>
          <a:lstStyle>
            <a:lvl1pPr marL="0" indent="0" algn="l">
              <a:buNone/>
              <a:defRPr sz="2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, Subject, Sub header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6154" y="5897896"/>
            <a:ext cx="5632361" cy="322263"/>
          </a:xfr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9159229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Mai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94" r="20870"/>
          <a:stretch/>
        </p:blipFill>
        <p:spPr>
          <a:xfrm rot="16200000" flipV="1">
            <a:off x="51515" y="-51515"/>
            <a:ext cx="6851561" cy="6954592"/>
          </a:xfrm>
          <a:prstGeom prst="rect">
            <a:avLst/>
          </a:prstGeom>
        </p:spPr>
      </p:pic>
      <p:sp>
        <p:nvSpPr>
          <p:cNvPr id="5" name="Round Single Corner Rectangle 4"/>
          <p:cNvSpPr/>
          <p:nvPr userDrawn="1"/>
        </p:nvSpPr>
        <p:spPr>
          <a:xfrm rot="10800000">
            <a:off x="4561490" y="-3"/>
            <a:ext cx="7630510" cy="5464978"/>
          </a:xfrm>
          <a:prstGeom prst="round1Rect">
            <a:avLst/>
          </a:prstGeom>
          <a:blipFill dpi="0" rotWithShape="0">
            <a:blip r:embed="rId3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96154" y="4258574"/>
            <a:ext cx="5632361" cy="908431"/>
          </a:xfrm>
        </p:spPr>
        <p:txBody>
          <a:bodyPr anchor="b">
            <a:noAutofit/>
          </a:bodyPr>
          <a:lstStyle>
            <a:lvl1pPr algn="l">
              <a:defRPr sz="7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6154" y="5458800"/>
            <a:ext cx="5632362" cy="403292"/>
          </a:xfrm>
        </p:spPr>
        <p:txBody>
          <a:bodyPr>
            <a:normAutofit/>
          </a:bodyPr>
          <a:lstStyle>
            <a:lvl1pPr marL="0" indent="0" algn="l">
              <a:buNone/>
              <a:defRPr sz="2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, Subject, Sub header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6154" y="5897896"/>
            <a:ext cx="5632361" cy="322263"/>
          </a:xfr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4779065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Mai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94" r="20870"/>
          <a:stretch/>
        </p:blipFill>
        <p:spPr>
          <a:xfrm rot="16200000" flipV="1">
            <a:off x="51515" y="-51515"/>
            <a:ext cx="6851561" cy="6954592"/>
          </a:xfrm>
          <a:prstGeom prst="rect">
            <a:avLst/>
          </a:prstGeom>
        </p:spPr>
      </p:pic>
      <p:sp>
        <p:nvSpPr>
          <p:cNvPr id="5" name="Round Single Corner Rectangle 4"/>
          <p:cNvSpPr/>
          <p:nvPr userDrawn="1"/>
        </p:nvSpPr>
        <p:spPr>
          <a:xfrm rot="10800000">
            <a:off x="0" y="211579"/>
            <a:ext cx="12192001" cy="6428404"/>
          </a:xfrm>
          <a:prstGeom prst="round1Rect">
            <a:avLst/>
          </a:prstGeom>
          <a:blipFill dpi="0" rotWithShape="0">
            <a:blip r:embed="rId3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96154" y="4258574"/>
            <a:ext cx="5632361" cy="908431"/>
          </a:xfrm>
        </p:spPr>
        <p:txBody>
          <a:bodyPr anchor="b">
            <a:noAutofit/>
          </a:bodyPr>
          <a:lstStyle>
            <a:lvl1pPr algn="l">
              <a:defRPr sz="7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6154" y="5458800"/>
            <a:ext cx="5632362" cy="403292"/>
          </a:xfrm>
        </p:spPr>
        <p:txBody>
          <a:bodyPr>
            <a:normAutofit/>
          </a:bodyPr>
          <a:lstStyle>
            <a:lvl1pPr marL="0" indent="0" algn="l">
              <a:buNone/>
              <a:defRPr sz="2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, Subject, Sub header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6154" y="5897896"/>
            <a:ext cx="5632361" cy="322263"/>
          </a:xfr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6283135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9097DBB-B69B-4669-B6BA-C6CD6A66CF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0537" y="5912127"/>
            <a:ext cx="1659994" cy="73916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3397" b="2592"/>
          <a:stretch/>
        </p:blipFill>
        <p:spPr>
          <a:xfrm rot="5400000">
            <a:off x="-1130364" y="1130362"/>
            <a:ext cx="6877318" cy="461659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0958" y="3657600"/>
            <a:ext cx="3200400" cy="320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692461" y="2912014"/>
            <a:ext cx="5632361" cy="1229411"/>
          </a:xfrm>
        </p:spPr>
        <p:txBody>
          <a:bodyPr anchor="b">
            <a:noAutofit/>
          </a:bodyPr>
          <a:lstStyle>
            <a:lvl1pPr algn="l">
              <a:defRPr sz="7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92461" y="4405084"/>
            <a:ext cx="5632362" cy="403292"/>
          </a:xfrm>
        </p:spPr>
        <p:txBody>
          <a:bodyPr>
            <a:normAutofit/>
          </a:bodyPr>
          <a:lstStyle>
            <a:lvl1pPr marL="0" indent="0" algn="l">
              <a:buNone/>
              <a:defRPr sz="2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, Subject, Sub header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692461" y="4844180"/>
            <a:ext cx="5632361" cy="322263"/>
          </a:xfr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9" name="object 3"/>
          <p:cNvSpPr/>
          <p:nvPr userDrawn="1"/>
        </p:nvSpPr>
        <p:spPr>
          <a:xfrm flipV="1">
            <a:off x="5805002" y="4048125"/>
            <a:ext cx="572770" cy="112477"/>
          </a:xfrm>
          <a:custGeom>
            <a:avLst/>
            <a:gdLst/>
            <a:ahLst/>
            <a:cxnLst/>
            <a:rect l="l" t="t" r="r" b="b"/>
            <a:pathLst>
              <a:path w="572770">
                <a:moveTo>
                  <a:pt x="0" y="0"/>
                </a:moveTo>
                <a:lnTo>
                  <a:pt x="572770" y="0"/>
                </a:lnTo>
              </a:path>
            </a:pathLst>
          </a:custGeom>
          <a:ln w="44450" cap="rnd">
            <a:solidFill>
              <a:srgbClr val="FDD566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-128"/>
              <a:cs typeface="+mn-cs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728" y="1147123"/>
            <a:ext cx="4752975" cy="572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84768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28600" lvl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/>
              <a:t>Edit Master text styles</a:t>
            </a:r>
          </a:p>
          <a:p>
            <a:pPr marL="685800" lvl="1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Courier New" panose="02070309020205020404" pitchFamily="49" charset="0"/>
              <a:buChar char="o"/>
            </a:pPr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1E250F3-3C7A-43E5-8FD6-38E9F7B73218}" type="datetimeFigureOut">
              <a:rPr lang="en-US" smtClean="0"/>
              <a:t>9/3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C038318-8689-40B2-BA55-5AB105E9E3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03277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97" r:id="rId2"/>
    <p:sldLayoutId id="2147483696" r:id="rId3"/>
    <p:sldLayoutId id="2147483683" r:id="rId4"/>
    <p:sldLayoutId id="2147483692" r:id="rId5"/>
    <p:sldLayoutId id="2147483693" r:id="rId6"/>
    <p:sldLayoutId id="2147483694" r:id="rId7"/>
    <p:sldLayoutId id="2147483695" r:id="rId8"/>
    <p:sldLayoutId id="2147483649" r:id="rId9"/>
    <p:sldLayoutId id="2147483650" r:id="rId10"/>
    <p:sldLayoutId id="2147483682" r:id="rId11"/>
    <p:sldLayoutId id="2147483678" r:id="rId12"/>
    <p:sldLayoutId id="2147483691" r:id="rId13"/>
    <p:sldLayoutId id="2147483698" r:id="rId14"/>
    <p:sldLayoutId id="2147483699" r:id="rId15"/>
    <p:sldLayoutId id="2147483657" r:id="rId16"/>
    <p:sldLayoutId id="2147483681" r:id="rId17"/>
    <p:sldLayoutId id="2147483680" r:id="rId18"/>
    <p:sldLayoutId id="2147483690" r:id="rId19"/>
    <p:sldLayoutId id="2147483661" r:id="rId20"/>
    <p:sldLayoutId id="2147483665" r:id="rId21"/>
    <p:sldLayoutId id="2147483667" r:id="rId22"/>
    <p:sldLayoutId id="2147483666" r:id="rId23"/>
    <p:sldLayoutId id="2147483652" r:id="rId24"/>
    <p:sldLayoutId id="2147483671" r:id="rId25"/>
    <p:sldLayoutId id="2147483673" r:id="rId26"/>
    <p:sldLayoutId id="2147483679" r:id="rId27"/>
    <p:sldLayoutId id="2147483668" r:id="rId28"/>
    <p:sldLayoutId id="2147483669" r:id="rId29"/>
    <p:sldLayoutId id="2147483670" r:id="rId30"/>
    <p:sldLayoutId id="2147483658" r:id="rId31"/>
    <p:sldLayoutId id="2147483674" r:id="rId32"/>
    <p:sldLayoutId id="2147483685" r:id="rId33"/>
    <p:sldLayoutId id="2147483686" r:id="rId34"/>
    <p:sldLayoutId id="2147483660" r:id="rId35"/>
    <p:sldLayoutId id="2147483662" r:id="rId36"/>
    <p:sldLayoutId id="2147483672" r:id="rId37"/>
    <p:sldLayoutId id="2147483664" r:id="rId38"/>
    <p:sldLayoutId id="2147483687" r:id="rId39"/>
    <p:sldLayoutId id="2147483677" r:id="rId4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2800" b="1" kern="1200" dirty="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lang="en-US" sz="2400" kern="1200" dirty="0" smtClean="0">
          <a:solidFill>
            <a:schemeClr val="tx2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2100" kern="1200" baseline="0" dirty="0" smtClean="0">
          <a:solidFill>
            <a:schemeClr val="tx2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Segoe UI" panose="020B0502040204020203" pitchFamily="34" charset="0"/>
        <a:buChar char="+"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Segoe UI" panose="020B0502040204020203" pitchFamily="34" charset="0"/>
        <a:buChar char="‒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Segoe UI" panose="020B0502040204020203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0.xml"/></Relationships>
</file>

<file path=ppt/slides/_rels/slide13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EB_93C5A2A5.xml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33.png"/><Relationship Id="rId5" Type="http://schemas.openxmlformats.org/officeDocument/2006/relationships/image" Target="../media/image14.png"/><Relationship Id="rId4" Type="http://schemas.openxmlformats.org/officeDocument/2006/relationships/image" Target="../media/image11.png"/></Relationships>
</file>

<file path=ppt/slides/_rels/slide14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E9_883929D7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0.xml"/></Relationships>
</file>

<file path=ppt/slides/_rels/slide16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F4_54B0A22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30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hyperlink" Target="https://www.kingsfund.org.uk/insight-and-analysis/reports/public-satisfaction-nhs-social-care-2023" TargetMode="External"/><Relationship Id="rId4" Type="http://schemas.openxmlformats.org/officeDocument/2006/relationships/chart" Target="../charts/char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hyperlink" Target="https://www.kingsfund.org.uk/insight-and-analysis/long-reads/whats-going-on-with-ae-waiting-times#:~:text=A%26E%20department%20waiting%20times,-Being%20treated%20quickly&amp;text=The%20most%20high%2Dprofile%20measure,or%20discharged%20within%20four%20hours." TargetMode="External"/><Relationship Id="rId3" Type="http://schemas.openxmlformats.org/officeDocument/2006/relationships/tags" Target="../tags/tag5.xml"/><Relationship Id="rId21" Type="http://schemas.openxmlformats.org/officeDocument/2006/relationships/tags" Target="../tags/tag23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chart" Target="../charts/chart2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slideLayout" Target="../slideLayouts/slideLayout20.xml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chart" Target="../charts/chart3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38.xml"/><Relationship Id="rId18" Type="http://schemas.openxmlformats.org/officeDocument/2006/relationships/tags" Target="../tags/tag43.xml"/><Relationship Id="rId26" Type="http://schemas.openxmlformats.org/officeDocument/2006/relationships/tags" Target="../tags/tag51.xml"/><Relationship Id="rId21" Type="http://schemas.openxmlformats.org/officeDocument/2006/relationships/tags" Target="../tags/tag46.xml"/><Relationship Id="rId34" Type="http://schemas.openxmlformats.org/officeDocument/2006/relationships/tags" Target="../tags/tag59.xml"/><Relationship Id="rId7" Type="http://schemas.openxmlformats.org/officeDocument/2006/relationships/tags" Target="../tags/tag32.xml"/><Relationship Id="rId12" Type="http://schemas.openxmlformats.org/officeDocument/2006/relationships/tags" Target="../tags/tag37.xml"/><Relationship Id="rId17" Type="http://schemas.openxmlformats.org/officeDocument/2006/relationships/tags" Target="../tags/tag42.xml"/><Relationship Id="rId25" Type="http://schemas.openxmlformats.org/officeDocument/2006/relationships/tags" Target="../tags/tag50.xml"/><Relationship Id="rId33" Type="http://schemas.openxmlformats.org/officeDocument/2006/relationships/tags" Target="../tags/tag58.xml"/><Relationship Id="rId38" Type="http://schemas.openxmlformats.org/officeDocument/2006/relationships/chart" Target="../charts/chart5.xml"/><Relationship Id="rId2" Type="http://schemas.openxmlformats.org/officeDocument/2006/relationships/tags" Target="../tags/tag27.xml"/><Relationship Id="rId16" Type="http://schemas.openxmlformats.org/officeDocument/2006/relationships/tags" Target="../tags/tag41.xml"/><Relationship Id="rId20" Type="http://schemas.openxmlformats.org/officeDocument/2006/relationships/tags" Target="../tags/tag45.xml"/><Relationship Id="rId29" Type="http://schemas.openxmlformats.org/officeDocument/2006/relationships/tags" Target="../tags/tag54.xml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11" Type="http://schemas.openxmlformats.org/officeDocument/2006/relationships/tags" Target="../tags/tag36.xml"/><Relationship Id="rId24" Type="http://schemas.openxmlformats.org/officeDocument/2006/relationships/tags" Target="../tags/tag49.xml"/><Relationship Id="rId32" Type="http://schemas.openxmlformats.org/officeDocument/2006/relationships/tags" Target="../tags/tag57.xml"/><Relationship Id="rId37" Type="http://schemas.openxmlformats.org/officeDocument/2006/relationships/chart" Target="../charts/chart4.xml"/><Relationship Id="rId5" Type="http://schemas.openxmlformats.org/officeDocument/2006/relationships/tags" Target="../tags/tag30.xml"/><Relationship Id="rId15" Type="http://schemas.openxmlformats.org/officeDocument/2006/relationships/tags" Target="../tags/tag40.xml"/><Relationship Id="rId23" Type="http://schemas.openxmlformats.org/officeDocument/2006/relationships/tags" Target="../tags/tag48.xml"/><Relationship Id="rId28" Type="http://schemas.openxmlformats.org/officeDocument/2006/relationships/tags" Target="../tags/tag53.xml"/><Relationship Id="rId36" Type="http://schemas.openxmlformats.org/officeDocument/2006/relationships/hyperlink" Target="https://www.england.nhs.uk/statistics/statistical-work-areas/rtt-waiting-times/rtt-data-2024-25/" TargetMode="External"/><Relationship Id="rId10" Type="http://schemas.openxmlformats.org/officeDocument/2006/relationships/tags" Target="../tags/tag35.xml"/><Relationship Id="rId19" Type="http://schemas.openxmlformats.org/officeDocument/2006/relationships/tags" Target="../tags/tag44.xml"/><Relationship Id="rId31" Type="http://schemas.openxmlformats.org/officeDocument/2006/relationships/tags" Target="../tags/tag56.xml"/><Relationship Id="rId4" Type="http://schemas.openxmlformats.org/officeDocument/2006/relationships/tags" Target="../tags/tag29.xml"/><Relationship Id="rId9" Type="http://schemas.openxmlformats.org/officeDocument/2006/relationships/tags" Target="../tags/tag34.xml"/><Relationship Id="rId14" Type="http://schemas.openxmlformats.org/officeDocument/2006/relationships/tags" Target="../tags/tag39.xml"/><Relationship Id="rId22" Type="http://schemas.openxmlformats.org/officeDocument/2006/relationships/tags" Target="../tags/tag47.xml"/><Relationship Id="rId27" Type="http://schemas.openxmlformats.org/officeDocument/2006/relationships/tags" Target="../tags/tag52.xml"/><Relationship Id="rId30" Type="http://schemas.openxmlformats.org/officeDocument/2006/relationships/tags" Target="../tags/tag55.xml"/><Relationship Id="rId35" Type="http://schemas.openxmlformats.org/officeDocument/2006/relationships/slideLayout" Target="../slideLayouts/slideLayout20.xml"/><Relationship Id="rId8" Type="http://schemas.openxmlformats.org/officeDocument/2006/relationships/tags" Target="../tags/tag33.xml"/><Relationship Id="rId3" Type="http://schemas.openxmlformats.org/officeDocument/2006/relationships/tags" Target="../tags/tag28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tags" Target="../tags/tag72.xml"/><Relationship Id="rId18" Type="http://schemas.openxmlformats.org/officeDocument/2006/relationships/tags" Target="../tags/tag77.xml"/><Relationship Id="rId26" Type="http://schemas.openxmlformats.org/officeDocument/2006/relationships/chart" Target="../charts/chart6.xml"/><Relationship Id="rId3" Type="http://schemas.openxmlformats.org/officeDocument/2006/relationships/tags" Target="../tags/tag62.xml"/><Relationship Id="rId21" Type="http://schemas.openxmlformats.org/officeDocument/2006/relationships/tags" Target="../tags/tag80.xml"/><Relationship Id="rId7" Type="http://schemas.openxmlformats.org/officeDocument/2006/relationships/tags" Target="../tags/tag66.xml"/><Relationship Id="rId12" Type="http://schemas.openxmlformats.org/officeDocument/2006/relationships/tags" Target="../tags/tag71.xml"/><Relationship Id="rId17" Type="http://schemas.openxmlformats.org/officeDocument/2006/relationships/tags" Target="../tags/tag76.xml"/><Relationship Id="rId25" Type="http://schemas.openxmlformats.org/officeDocument/2006/relationships/hyperlink" Target="https://digital.nhs.uk/data-and-information/publications/statistical/appointments-in-general-practice/november-2024" TargetMode="External"/><Relationship Id="rId2" Type="http://schemas.openxmlformats.org/officeDocument/2006/relationships/tags" Target="../tags/tag61.xml"/><Relationship Id="rId16" Type="http://schemas.openxmlformats.org/officeDocument/2006/relationships/tags" Target="../tags/tag75.xml"/><Relationship Id="rId20" Type="http://schemas.openxmlformats.org/officeDocument/2006/relationships/tags" Target="../tags/tag79.xml"/><Relationship Id="rId1" Type="http://schemas.openxmlformats.org/officeDocument/2006/relationships/tags" Target="../tags/tag60.xml"/><Relationship Id="rId6" Type="http://schemas.openxmlformats.org/officeDocument/2006/relationships/tags" Target="../tags/tag65.xml"/><Relationship Id="rId11" Type="http://schemas.openxmlformats.org/officeDocument/2006/relationships/tags" Target="../tags/tag70.xml"/><Relationship Id="rId24" Type="http://schemas.openxmlformats.org/officeDocument/2006/relationships/slideLayout" Target="../slideLayouts/slideLayout20.xml"/><Relationship Id="rId5" Type="http://schemas.openxmlformats.org/officeDocument/2006/relationships/tags" Target="../tags/tag64.xml"/><Relationship Id="rId15" Type="http://schemas.openxmlformats.org/officeDocument/2006/relationships/tags" Target="../tags/tag74.xml"/><Relationship Id="rId23" Type="http://schemas.openxmlformats.org/officeDocument/2006/relationships/tags" Target="../tags/tag82.xml"/><Relationship Id="rId10" Type="http://schemas.openxmlformats.org/officeDocument/2006/relationships/tags" Target="../tags/tag69.xml"/><Relationship Id="rId19" Type="http://schemas.openxmlformats.org/officeDocument/2006/relationships/tags" Target="../tags/tag78.xml"/><Relationship Id="rId4" Type="http://schemas.openxmlformats.org/officeDocument/2006/relationships/tags" Target="../tags/tag63.xml"/><Relationship Id="rId9" Type="http://schemas.openxmlformats.org/officeDocument/2006/relationships/tags" Target="../tags/tag68.xml"/><Relationship Id="rId14" Type="http://schemas.openxmlformats.org/officeDocument/2006/relationships/tags" Target="../tags/tag73.xml"/><Relationship Id="rId22" Type="http://schemas.openxmlformats.org/officeDocument/2006/relationships/tags" Target="../tags/tag8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79F70D-D120-422F-B087-DCF1596D83C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96153" y="2843869"/>
            <a:ext cx="5828477" cy="2256026"/>
          </a:xfrm>
        </p:spPr>
        <p:txBody>
          <a:bodyPr/>
          <a:lstStyle/>
          <a:p>
            <a:r>
              <a:rPr lang="en-GB" sz="6000" dirty="0"/>
              <a:t>Driving Digital Transformation In Healthcare</a:t>
            </a:r>
            <a:endParaRPr lang="en-GB" sz="6000" b="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6AE8BEA-0190-464E-8015-399DC792554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96154" y="5458800"/>
            <a:ext cx="5954404" cy="403292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GB" dirty="0">
                <a:solidFill>
                  <a:srgbClr val="7CC6E8"/>
                </a:solidFill>
                <a:latin typeface="Arial"/>
                <a:cs typeface="Arial"/>
              </a:rPr>
              <a:t>Andrew Hine, Managing Director</a:t>
            </a:r>
            <a:endParaRPr lang="en-US" dirty="0">
              <a:solidFill>
                <a:srgbClr val="7CC6E8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CF660B8-4387-42BA-AE5D-6366D1F8374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6154" y="5897896"/>
            <a:ext cx="5632361" cy="322263"/>
          </a:xfrm>
        </p:spPr>
        <p:txBody>
          <a:bodyPr/>
          <a:lstStyle/>
          <a:p>
            <a:r>
              <a:rPr lang="en-GB" dirty="0"/>
              <a:t>October 2025</a:t>
            </a:r>
          </a:p>
        </p:txBody>
      </p:sp>
    </p:spTree>
    <p:extLst>
      <p:ext uri="{BB962C8B-B14F-4D97-AF65-F5344CB8AC3E}">
        <p14:creationId xmlns:p14="http://schemas.microsoft.com/office/powerpoint/2010/main" val="40787933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02F3EB-CED8-43E4-9CB5-4C7CB27867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HEALTHCARE IS THE LAST MAJOR INDUSTRY OVERDUE FOR FULL DIGITAL REINVENTION</a:t>
            </a:r>
          </a:p>
        </p:txBody>
      </p:sp>
      <p:sp>
        <p:nvSpPr>
          <p:cNvPr id="4" name="Title 6">
            <a:extLst>
              <a:ext uri="{FF2B5EF4-FFF2-40B4-BE49-F238E27FC236}">
                <a16:creationId xmlns:a16="http://schemas.microsoft.com/office/drawing/2014/main" id="{499B5088-AEC2-43EA-BCBD-269A4716FD53}"/>
              </a:ext>
            </a:extLst>
          </p:cNvPr>
          <p:cNvSpPr txBox="1">
            <a:spLocks/>
          </p:cNvSpPr>
          <p:nvPr/>
        </p:nvSpPr>
        <p:spPr>
          <a:xfrm>
            <a:off x="961254" y="1134039"/>
            <a:ext cx="4869581" cy="1592030"/>
          </a:xfrm>
          <a:prstGeom prst="rect">
            <a:avLst/>
          </a:prstGeom>
          <a:solidFill>
            <a:schemeClr val="accent2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GB" sz="1800" b="0" i="1" dirty="0">
                <a:solidFill>
                  <a:srgbClr val="192441"/>
                </a:solidFill>
                <a:latin typeface="Segoe UI"/>
                <a:cs typeface="Segoe UI"/>
              </a:rPr>
              <a:t>“Healthcare remains one of the largest and most complex industries to have yet fully captured the productivity benefits of digitisation.”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GB" sz="1800" dirty="0">
                <a:solidFill>
                  <a:srgbClr val="192441"/>
                </a:solidFill>
                <a:latin typeface="Segoe UI"/>
                <a:cs typeface="Segoe UI"/>
              </a:rPr>
              <a:t>McKinsey &amp; Co.</a:t>
            </a:r>
          </a:p>
        </p:txBody>
      </p:sp>
      <p:sp>
        <p:nvSpPr>
          <p:cNvPr id="5" name="Title 6">
            <a:extLst>
              <a:ext uri="{FF2B5EF4-FFF2-40B4-BE49-F238E27FC236}">
                <a16:creationId xmlns:a16="http://schemas.microsoft.com/office/drawing/2014/main" id="{686E0AD4-B779-4488-AEB9-4E981A80AB62}"/>
              </a:ext>
            </a:extLst>
          </p:cNvPr>
          <p:cNvSpPr txBox="1">
            <a:spLocks/>
          </p:cNvSpPr>
          <p:nvPr/>
        </p:nvSpPr>
        <p:spPr>
          <a:xfrm>
            <a:off x="961254" y="2816858"/>
            <a:ext cx="4869581" cy="1592030"/>
          </a:xfrm>
          <a:prstGeom prst="rect">
            <a:avLst/>
          </a:prstGeom>
          <a:solidFill>
            <a:schemeClr val="accent2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GB" sz="1800" b="0" i="1" dirty="0">
                <a:solidFill>
                  <a:srgbClr val="192441"/>
                </a:solidFill>
                <a:latin typeface="Segoe UI"/>
                <a:cs typeface="Segoe UI"/>
              </a:rPr>
              <a:t>“Healthcare organisations are just beginning to tap into the full potential of digital. It is among the last major sectors still undergoing foundational reinvention.”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GB" sz="1800" dirty="0">
                <a:solidFill>
                  <a:srgbClr val="192441"/>
                </a:solidFill>
                <a:latin typeface="Segoe UI"/>
                <a:cs typeface="Segoe UI"/>
              </a:rPr>
              <a:t>Deloitte</a:t>
            </a:r>
          </a:p>
        </p:txBody>
      </p:sp>
      <p:sp>
        <p:nvSpPr>
          <p:cNvPr id="6" name="Title 6">
            <a:extLst>
              <a:ext uri="{FF2B5EF4-FFF2-40B4-BE49-F238E27FC236}">
                <a16:creationId xmlns:a16="http://schemas.microsoft.com/office/drawing/2014/main" id="{FD40DD35-5E50-4073-86AD-F1F44F2FE6C3}"/>
              </a:ext>
            </a:extLst>
          </p:cNvPr>
          <p:cNvSpPr txBox="1">
            <a:spLocks/>
          </p:cNvSpPr>
          <p:nvPr/>
        </p:nvSpPr>
        <p:spPr>
          <a:xfrm>
            <a:off x="961254" y="4499677"/>
            <a:ext cx="4869581" cy="1592030"/>
          </a:xfrm>
          <a:prstGeom prst="rect">
            <a:avLst/>
          </a:prstGeom>
          <a:solidFill>
            <a:schemeClr val="accent2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GB" sz="1800" b="0" i="1" dirty="0">
                <a:solidFill>
                  <a:srgbClr val="192441"/>
                </a:solidFill>
                <a:latin typeface="Segoe UI"/>
                <a:cs typeface="Segoe UI"/>
              </a:rPr>
              <a:t>“Healthcare is in the midst of an overdue digital revolution. Other industries made this leap decades ago.”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GB" sz="1800" dirty="0">
                <a:solidFill>
                  <a:srgbClr val="192441"/>
                </a:solidFill>
                <a:latin typeface="Segoe UI"/>
                <a:cs typeface="Segoe UI"/>
              </a:rPr>
              <a:t>HIMM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B9CA1DD2-27FE-4C21-9AEE-35BB25114537}"/>
              </a:ext>
            </a:extLst>
          </p:cNvPr>
          <p:cNvSpPr txBox="1">
            <a:spLocks/>
          </p:cNvSpPr>
          <p:nvPr/>
        </p:nvSpPr>
        <p:spPr>
          <a:xfrm>
            <a:off x="5926285" y="1134039"/>
            <a:ext cx="4869581" cy="1592030"/>
          </a:xfrm>
          <a:prstGeom prst="rect">
            <a:avLst/>
          </a:prstGeom>
          <a:solidFill>
            <a:schemeClr val="accent2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GB" sz="1800" b="0" i="1" dirty="0">
                <a:solidFill>
                  <a:srgbClr val="192441"/>
                </a:solidFill>
                <a:latin typeface="Segoe UI"/>
                <a:cs typeface="Segoe UI"/>
              </a:rPr>
              <a:t>“Healthcare remains the most complex and under-digitised major sector. Pressure is mounting for a dramatic acceleration in digital business transformation.”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GB" sz="1800" dirty="0">
                <a:solidFill>
                  <a:srgbClr val="192441"/>
                </a:solidFill>
                <a:latin typeface="Segoe UI"/>
                <a:cs typeface="Segoe UI"/>
              </a:rPr>
              <a:t>Gartner®</a:t>
            </a:r>
          </a:p>
        </p:txBody>
      </p:sp>
      <p:sp>
        <p:nvSpPr>
          <p:cNvPr id="8" name="Title 6">
            <a:extLst>
              <a:ext uri="{FF2B5EF4-FFF2-40B4-BE49-F238E27FC236}">
                <a16:creationId xmlns:a16="http://schemas.microsoft.com/office/drawing/2014/main" id="{51FB878F-D06B-4DCF-9809-72AA4B212BEF}"/>
              </a:ext>
            </a:extLst>
          </p:cNvPr>
          <p:cNvSpPr txBox="1">
            <a:spLocks/>
          </p:cNvSpPr>
          <p:nvPr/>
        </p:nvSpPr>
        <p:spPr>
          <a:xfrm>
            <a:off x="5926285" y="2816858"/>
            <a:ext cx="4869581" cy="1592030"/>
          </a:xfrm>
          <a:prstGeom prst="rect">
            <a:avLst/>
          </a:prstGeom>
          <a:solidFill>
            <a:schemeClr val="accent2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GB" sz="1800" b="0" i="1" dirty="0">
                <a:solidFill>
                  <a:srgbClr val="192441"/>
                </a:solidFill>
                <a:latin typeface="Segoe UI"/>
                <a:cs typeface="Segoe UI"/>
              </a:rPr>
              <a:t>“Healthcare has been a digital laggard. A systematic shift to digitisation, automation, and platform models is now non-negotiable for health system survival.”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GB" sz="1800" dirty="0">
                <a:solidFill>
                  <a:srgbClr val="192441"/>
                </a:solidFill>
                <a:latin typeface="Segoe UI"/>
                <a:cs typeface="Segoe UI"/>
              </a:rPr>
              <a:t>World Economic Forum</a:t>
            </a:r>
          </a:p>
        </p:txBody>
      </p:sp>
      <p:sp>
        <p:nvSpPr>
          <p:cNvPr id="9" name="Title 6">
            <a:extLst>
              <a:ext uri="{FF2B5EF4-FFF2-40B4-BE49-F238E27FC236}">
                <a16:creationId xmlns:a16="http://schemas.microsoft.com/office/drawing/2014/main" id="{6D9A436F-60BF-4605-95F9-AF9EC43EAD40}"/>
              </a:ext>
            </a:extLst>
          </p:cNvPr>
          <p:cNvSpPr txBox="1">
            <a:spLocks/>
          </p:cNvSpPr>
          <p:nvPr/>
        </p:nvSpPr>
        <p:spPr>
          <a:xfrm>
            <a:off x="5926285" y="4499677"/>
            <a:ext cx="4869581" cy="1592030"/>
          </a:xfrm>
          <a:prstGeom prst="rect">
            <a:avLst/>
          </a:prstGeom>
          <a:solidFill>
            <a:schemeClr val="accent2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GB" sz="1800" b="0" i="1" dirty="0">
                <a:solidFill>
                  <a:srgbClr val="192441"/>
                </a:solidFill>
                <a:latin typeface="Segoe UI"/>
                <a:cs typeface="Segoe UI"/>
              </a:rPr>
              <a:t>“Unlike banking, retail, and manufacturing, healthcare remains far behind in digital experience, data interoperability, and operational automation.”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GB" sz="1800" dirty="0">
                <a:solidFill>
                  <a:srgbClr val="192441"/>
                </a:solidFill>
                <a:latin typeface="Segoe UI"/>
                <a:cs typeface="Segoe UI"/>
              </a:rPr>
              <a:t>Harvard Business Review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41988ED-9EA7-472D-8C08-CD1C6A4990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10806762" y="5655979"/>
            <a:ext cx="520234" cy="52023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A91937F-2215-4693-BFFC-8BBA211B479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216" y="1057039"/>
            <a:ext cx="520234" cy="520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612219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22EB23-7137-66CC-3C65-1939145037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2020" y="321994"/>
            <a:ext cx="9591780" cy="787695"/>
          </a:xfrm>
        </p:spPr>
        <p:txBody>
          <a:bodyPr>
            <a:noAutofit/>
          </a:bodyPr>
          <a:lstStyle/>
          <a:p>
            <a:r>
              <a:rPr lang="en-US" dirty="0">
                <a:latin typeface="Arial"/>
                <a:cs typeface="Arial"/>
              </a:rPr>
              <a:t>IT'S NOT ONLY ABOUT THE PRODUCT. IT'S ABOUT THE IMPLEMENTATION</a:t>
            </a: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D601948-5960-F325-D1FC-24091B742558}"/>
              </a:ext>
            </a:extLst>
          </p:cNvPr>
          <p:cNvSpPr txBox="1"/>
          <p:nvPr/>
        </p:nvSpPr>
        <p:spPr>
          <a:xfrm>
            <a:off x="1762020" y="1363984"/>
            <a:ext cx="2829464" cy="261610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>
                <a:solidFill>
                  <a:srgbClr val="192441"/>
                </a:solidFill>
                <a:ea typeface="+mn-lt"/>
                <a:cs typeface="+mn-lt"/>
              </a:rPr>
              <a:t>EPR Adoption ≠ Success</a:t>
            </a:r>
            <a:br>
              <a:rPr lang="en-US">
                <a:ea typeface="+mn-lt"/>
                <a:cs typeface="+mn-lt"/>
              </a:rPr>
            </a:br>
            <a:r>
              <a:rPr lang="en-US" sz="1600">
                <a:ea typeface="+mn-lt"/>
                <a:cs typeface="+mn-lt"/>
              </a:rPr>
              <a:t> </a:t>
            </a:r>
            <a:br>
              <a:rPr lang="en-US" sz="1600">
                <a:ea typeface="+mn-lt"/>
                <a:cs typeface="+mn-lt"/>
              </a:rPr>
            </a:br>
            <a:r>
              <a:rPr lang="en-US" sz="1600">
                <a:ea typeface="+mn-lt"/>
                <a:cs typeface="+mn-lt"/>
              </a:rPr>
              <a:t>• ~90% of NHS providers have an EPR</a:t>
            </a:r>
            <a:br>
              <a:rPr lang="en-US" sz="1600">
                <a:ea typeface="+mn-lt"/>
                <a:cs typeface="+mn-lt"/>
              </a:rPr>
            </a:br>
            <a:r>
              <a:rPr lang="en-US" sz="1600">
                <a:ea typeface="+mn-lt"/>
                <a:cs typeface="+mn-lt"/>
              </a:rPr>
              <a:t> • Only 1 in 3 have integrated EPRs across care settings</a:t>
            </a:r>
            <a:br>
              <a:rPr lang="en-US" sz="1600">
                <a:ea typeface="+mn-lt"/>
                <a:cs typeface="+mn-lt"/>
              </a:rPr>
            </a:br>
            <a:r>
              <a:rPr lang="en-US" sz="1600">
                <a:ea typeface="+mn-lt"/>
                <a:cs typeface="+mn-lt"/>
              </a:rPr>
              <a:t> • ~55% have </a:t>
            </a:r>
            <a:r>
              <a:rPr lang="en-US" sz="1600" err="1">
                <a:cs typeface="Segoe UI"/>
              </a:rPr>
              <a:t>digitised</a:t>
            </a:r>
            <a:r>
              <a:rPr lang="en-US" sz="1600">
                <a:cs typeface="Segoe UI"/>
              </a:rPr>
              <a:t> all patient records (excluding historic)</a:t>
            </a:r>
          </a:p>
          <a:p>
            <a:pPr algn="l"/>
            <a:endParaRPr lang="en-US">
              <a:cs typeface="Segoe UI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07FF32-44B0-C6B3-BA0A-E1A1FA79126C}"/>
              </a:ext>
            </a:extLst>
          </p:cNvPr>
          <p:cNvSpPr txBox="1"/>
          <p:nvPr/>
        </p:nvSpPr>
        <p:spPr>
          <a:xfrm>
            <a:off x="4740773" y="1361724"/>
            <a:ext cx="2743200" cy="240065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>
                <a:ea typeface="+mn-lt"/>
                <a:cs typeface="+mn-lt"/>
              </a:rPr>
              <a:t>Functionality Gap</a:t>
            </a:r>
            <a:br>
              <a:rPr lang="en-US">
                <a:ea typeface="+mn-lt"/>
                <a:cs typeface="+mn-lt"/>
              </a:rPr>
            </a:br>
            <a:r>
              <a:rPr lang="en-US" sz="1600">
                <a:ea typeface="+mn-lt"/>
                <a:cs typeface="+mn-lt"/>
              </a:rPr>
              <a:t> </a:t>
            </a:r>
            <a:br>
              <a:rPr lang="en-US" sz="1600">
                <a:ea typeface="+mn-lt"/>
                <a:cs typeface="+mn-lt"/>
              </a:rPr>
            </a:br>
            <a:r>
              <a:rPr lang="en-US" sz="1600">
                <a:ea typeface="+mn-lt"/>
                <a:cs typeface="+mn-lt"/>
              </a:rPr>
              <a:t>• ~30% use key features like SNOMED templates</a:t>
            </a:r>
            <a:br>
              <a:rPr lang="en-US" sz="1600">
                <a:ea typeface="+mn-lt"/>
                <a:cs typeface="+mn-lt"/>
              </a:rPr>
            </a:br>
            <a:r>
              <a:rPr lang="en-US" sz="1600">
                <a:ea typeface="+mn-lt"/>
                <a:cs typeface="+mn-lt"/>
              </a:rPr>
              <a:t> • Only ~40% report good clinician experience</a:t>
            </a:r>
            <a:br>
              <a:rPr lang="en-US" sz="1600">
                <a:ea typeface="+mn-lt"/>
                <a:cs typeface="+mn-lt"/>
              </a:rPr>
            </a:br>
            <a:r>
              <a:rPr lang="en-US" sz="1600">
                <a:ea typeface="+mn-lt"/>
                <a:cs typeface="+mn-lt"/>
              </a:rPr>
              <a:t> • Significant variation in use even with same vendor</a:t>
            </a:r>
            <a:endParaRPr lang="en-US" sz="2000">
              <a:ea typeface="+mn-lt"/>
              <a:cs typeface="+mn-lt"/>
            </a:endParaRPr>
          </a:p>
          <a:p>
            <a:pPr algn="l"/>
            <a:endParaRPr lang="en-US" sz="2000">
              <a:cs typeface="Segoe UI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D779CE2-A969-A1EB-B8B0-0F6381DDAB99}"/>
              </a:ext>
            </a:extLst>
          </p:cNvPr>
          <p:cNvSpPr txBox="1"/>
          <p:nvPr/>
        </p:nvSpPr>
        <p:spPr>
          <a:xfrm>
            <a:off x="1762020" y="3762381"/>
            <a:ext cx="6014998" cy="160043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>
                <a:ea typeface="+mn-lt"/>
                <a:cs typeface="+mn-lt"/>
              </a:rPr>
              <a:t>Maturity</a:t>
            </a:r>
            <a:r>
              <a:rPr lang="en-US" sz="1400" b="1">
                <a:ea typeface="+mn-lt"/>
                <a:cs typeface="+mn-lt"/>
              </a:rPr>
              <a:t> </a:t>
            </a:r>
            <a:r>
              <a:rPr lang="en-US" b="1">
                <a:ea typeface="+mn-lt"/>
                <a:cs typeface="+mn-lt"/>
              </a:rPr>
              <a:t>Misalignment</a:t>
            </a:r>
            <a:br>
              <a:rPr lang="en-US" sz="1400">
                <a:ea typeface="+mn-lt"/>
                <a:cs typeface="+mn-lt"/>
              </a:rPr>
            </a:br>
            <a:r>
              <a:rPr lang="en-US" sz="1400">
                <a:ea typeface="+mn-lt"/>
                <a:cs typeface="+mn-lt"/>
              </a:rPr>
              <a:t> </a:t>
            </a:r>
            <a:br>
              <a:rPr lang="en-US" sz="1400">
                <a:ea typeface="+mn-lt"/>
                <a:cs typeface="+mn-lt"/>
              </a:rPr>
            </a:br>
            <a:r>
              <a:rPr lang="en-US" sz="1600">
                <a:ea typeface="+mn-lt"/>
                <a:cs typeface="+mn-lt"/>
              </a:rPr>
              <a:t>• Achieving HIMMS EMRAM Stage 7 is absolutely possible with MEDITECH – yet, only 32% of NHS Trusts have reached Stage 5–7</a:t>
            </a:r>
            <a:br>
              <a:rPr lang="en-US" sz="1600">
                <a:ea typeface="+mn-lt"/>
                <a:cs typeface="+mn-lt"/>
              </a:rPr>
            </a:br>
            <a:r>
              <a:rPr lang="en-US" sz="1600">
                <a:ea typeface="+mn-lt"/>
                <a:cs typeface="+mn-lt"/>
              </a:rPr>
              <a:t> • Only 12% achieved INFRAM Stage 5 or above</a:t>
            </a:r>
          </a:p>
          <a:p>
            <a:pPr algn="l"/>
            <a:endParaRPr lang="en-US">
              <a:cs typeface="Segoe UI"/>
            </a:endParaRPr>
          </a:p>
        </p:txBody>
      </p:sp>
      <p:sp>
        <p:nvSpPr>
          <p:cNvPr id="12" name="Round Single Corner Rectangle 4">
            <a:extLst>
              <a:ext uri="{FF2B5EF4-FFF2-40B4-BE49-F238E27FC236}">
                <a16:creationId xmlns:a16="http://schemas.microsoft.com/office/drawing/2014/main" id="{7B9D77DE-714E-2C3B-8B6D-16EBB3C4435E}"/>
              </a:ext>
            </a:extLst>
          </p:cNvPr>
          <p:cNvSpPr/>
          <p:nvPr/>
        </p:nvSpPr>
        <p:spPr>
          <a:xfrm rot="10800000">
            <a:off x="1762018" y="5322714"/>
            <a:ext cx="9603175" cy="608656"/>
          </a:xfrm>
          <a:prstGeom prst="round1Rect">
            <a:avLst/>
          </a:prstGeom>
          <a:gradFill>
            <a:gsLst>
              <a:gs pos="4000">
                <a:schemeClr val="accent2"/>
              </a:gs>
              <a:gs pos="33000">
                <a:schemeClr val="accent2"/>
              </a:gs>
              <a:gs pos="83000">
                <a:schemeClr val="accent2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948A075-1F1E-EED1-8267-1BE0C3521D8B}"/>
              </a:ext>
            </a:extLst>
          </p:cNvPr>
          <p:cNvSpPr txBox="1"/>
          <p:nvPr/>
        </p:nvSpPr>
        <p:spPr>
          <a:xfrm>
            <a:off x="1806644" y="5390045"/>
            <a:ext cx="9502531" cy="41549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GB" sz="2100" b="1" i="1">
                <a:solidFill>
                  <a:srgbClr val="192441"/>
                </a:solidFill>
                <a:ea typeface="+mn-lt"/>
                <a:cs typeface="+mn-lt"/>
              </a:rPr>
              <a:t>Success comes from HOW you implement – not WHAT you implement.</a:t>
            </a:r>
            <a:endParaRPr lang="en-US" sz="210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BC0C48F-93DF-4CF9-8D4B-031372DFC7C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227" r="21161"/>
          <a:stretch/>
        </p:blipFill>
        <p:spPr>
          <a:xfrm>
            <a:off x="7600518" y="1105165"/>
            <a:ext cx="4170690" cy="409172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10FF65E-6373-4D62-9255-120EB2ED6734}"/>
              </a:ext>
            </a:extLst>
          </p:cNvPr>
          <p:cNvSpPr txBox="1"/>
          <p:nvPr/>
        </p:nvSpPr>
        <p:spPr>
          <a:xfrm>
            <a:off x="8171556" y="3062313"/>
            <a:ext cx="149592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>
                <a:latin typeface="Segoe UI Semibold" panose="020B0702040204020203" pitchFamily="34" charset="0"/>
                <a:cs typeface="Segoe UI Semibold" panose="020B0702040204020203" pitchFamily="34" charset="0"/>
              </a:rPr>
              <a:t>Implementation</a:t>
            </a:r>
            <a:endParaRPr lang="en-GB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DE5CC76-1ABB-4D05-82FA-2E36A46A7FEB}"/>
              </a:ext>
            </a:extLst>
          </p:cNvPr>
          <p:cNvSpPr txBox="1"/>
          <p:nvPr/>
        </p:nvSpPr>
        <p:spPr>
          <a:xfrm>
            <a:off x="9850398" y="3062312"/>
            <a:ext cx="123142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Functionality</a:t>
            </a:r>
            <a:endParaRPr lang="en-GB">
              <a:solidFill>
                <a:schemeClr val="accent2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3561968-76EC-458D-A701-30E28690051D}"/>
              </a:ext>
            </a:extLst>
          </p:cNvPr>
          <p:cNvSpPr txBox="1"/>
          <p:nvPr/>
        </p:nvSpPr>
        <p:spPr>
          <a:xfrm>
            <a:off x="9191129" y="1992299"/>
            <a:ext cx="9526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>
                <a:latin typeface="Segoe UI Semibold" panose="020B0702040204020203" pitchFamily="34" charset="0"/>
                <a:cs typeface="Segoe UI Semibold" panose="020B0702040204020203" pitchFamily="34" charset="0"/>
              </a:rPr>
              <a:t>Coverage</a:t>
            </a:r>
            <a:endParaRPr lang="en-GB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4100883-A335-407F-9BC1-F0D8FF3A8C0D}"/>
              </a:ext>
            </a:extLst>
          </p:cNvPr>
          <p:cNvSpPr txBox="1"/>
          <p:nvPr/>
        </p:nvSpPr>
        <p:spPr>
          <a:xfrm>
            <a:off x="9200094" y="3999371"/>
            <a:ext cx="94929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>
                <a:latin typeface="Segoe UI Semibold" panose="020B0702040204020203" pitchFamily="34" charset="0"/>
                <a:cs typeface="Segoe UI Semibold" panose="020B0702040204020203" pitchFamily="34" charset="0"/>
              </a:rPr>
              <a:t>Adoption</a:t>
            </a:r>
            <a:endParaRPr lang="en-GB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93021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746D23-688D-49DA-A423-07F2BA404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00790"/>
          </a:xfrm>
        </p:spPr>
        <p:txBody>
          <a:bodyPr/>
          <a:lstStyle/>
          <a:p>
            <a:r>
              <a:rPr lang="en-GB" dirty="0"/>
              <a:t>ACUTE: EPR DIGITAL MATURITY VARYING BY VENDOR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4001613-EDDB-4428-ABF8-F6DCEDC9344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1199" y="1391966"/>
            <a:ext cx="10642601" cy="424508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94BBBF7-99CB-4296-9F4A-02E2661D4F7E}"/>
              </a:ext>
            </a:extLst>
          </p:cNvPr>
          <p:cNvSpPr txBox="1"/>
          <p:nvPr/>
        </p:nvSpPr>
        <p:spPr>
          <a:xfrm>
            <a:off x="838200" y="5988097"/>
            <a:ext cx="471978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/>
              <a:t>Source: DMA Maturity Scores for EPR domain (July 2024); </a:t>
            </a:r>
          </a:p>
          <a:p>
            <a:r>
              <a:rPr lang="en-GB" sz="1100"/>
              <a:t>Frontline Digitisation EPR vendor information (September 2024).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74DD75D-43DE-448E-9D16-331D03291C12}"/>
              </a:ext>
            </a:extLst>
          </p:cNvPr>
          <p:cNvSpPr txBox="1">
            <a:spLocks/>
          </p:cNvSpPr>
          <p:nvPr/>
        </p:nvSpPr>
        <p:spPr>
          <a:xfrm>
            <a:off x="838200" y="768265"/>
            <a:ext cx="10515600" cy="4232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GB" sz="2000" b="0"/>
              <a:t>Results show variability in maturity across providers with the same supplier</a:t>
            </a:r>
          </a:p>
        </p:txBody>
      </p:sp>
    </p:spTree>
    <p:extLst>
      <p:ext uri="{BB962C8B-B14F-4D97-AF65-F5344CB8AC3E}">
        <p14:creationId xmlns:p14="http://schemas.microsoft.com/office/powerpoint/2010/main" val="189463405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5AE62BB-269F-4D42-A9C3-401A00342A8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fld id="{E1E250F3-3C7A-43E5-8FD6-38E9F7B73218}" type="datetimeFigureOut">
              <a:rPr lang="en-US" smtClean="0"/>
              <a:t>9/30/2025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A6AF44F-EA97-4929-9C89-9E60C84C5E1D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3397" b="20323"/>
          <a:stretch/>
        </p:blipFill>
        <p:spPr>
          <a:xfrm rot="5400000">
            <a:off x="-1550513" y="1550513"/>
            <a:ext cx="6877318" cy="3776292"/>
          </a:xfrm>
          <a:prstGeom prst="round2Same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2358562-8BA7-41F7-B6C0-47597AF71346}"/>
              </a:ext>
            </a:extLst>
          </p:cNvPr>
          <p:cNvSpPr txBox="1"/>
          <p:nvPr/>
        </p:nvSpPr>
        <p:spPr bwMode="auto">
          <a:xfrm>
            <a:off x="4158451" y="6230324"/>
            <a:ext cx="5039156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1C243F"/>
                </a:solidFill>
                <a:effectLst/>
                <a:uLnTx/>
                <a:uFillTx/>
                <a:latin typeface="Arial" panose="020B0604020202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</a:b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1C243F"/>
                </a:solidFill>
                <a:effectLst/>
                <a:uLnTx/>
                <a:uFillTx/>
                <a:latin typeface="Arial" panose="020B0604020202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© CereCore® | CONFIDENTIAL – Contains proprietary information. Not intended for distribution.  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1EEDE62B-7565-44F0-8FF9-1481DD201C53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854" b="44669"/>
          <a:stretch/>
        </p:blipFill>
        <p:spPr>
          <a:xfrm>
            <a:off x="9197606" y="6427174"/>
            <a:ext cx="2261666" cy="304801"/>
          </a:xfrm>
          <a:prstGeom prst="rect">
            <a:avLst/>
          </a:prstGeom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8AFFE506-6305-4D9D-8C49-3222B8BBA982}"/>
              </a:ext>
            </a:extLst>
          </p:cNvPr>
          <p:cNvSpPr txBox="1"/>
          <p:nvPr/>
        </p:nvSpPr>
        <p:spPr>
          <a:xfrm>
            <a:off x="348096" y="3948759"/>
            <a:ext cx="2701994" cy="147732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GB" b="1" dirty="0">
                <a:solidFill>
                  <a:schemeClr val="bg1"/>
                </a:solidFill>
                <a:latin typeface="Arial"/>
                <a:cs typeface="Arial"/>
              </a:rPr>
              <a:t>Globally, no other provider has delivered more successful implementations than we have.</a:t>
            </a:r>
          </a:p>
        </p:txBody>
      </p:sp>
      <p:pic>
        <p:nvPicPr>
          <p:cNvPr id="60" name="Picture 59" descr="A yellow sign with black text&#10;&#10;Description automatically generated">
            <a:extLst>
              <a:ext uri="{FF2B5EF4-FFF2-40B4-BE49-F238E27FC236}">
                <a16:creationId xmlns:a16="http://schemas.microsoft.com/office/drawing/2014/main" id="{5F9AA221-8099-42F7-B005-D3330D61D01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096" y="3155244"/>
            <a:ext cx="3135653" cy="465362"/>
          </a:xfrm>
          <a:prstGeom prst="rect">
            <a:avLst/>
          </a:prstGeom>
        </p:spPr>
      </p:pic>
      <p:sp>
        <p:nvSpPr>
          <p:cNvPr id="61" name="TextBox 60">
            <a:extLst>
              <a:ext uri="{FF2B5EF4-FFF2-40B4-BE49-F238E27FC236}">
                <a16:creationId xmlns:a16="http://schemas.microsoft.com/office/drawing/2014/main" id="{DF40CA81-819F-4C2D-AF8C-9D287223D2F2}"/>
              </a:ext>
            </a:extLst>
          </p:cNvPr>
          <p:cNvSpPr txBox="1"/>
          <p:nvPr/>
        </p:nvSpPr>
        <p:spPr>
          <a:xfrm>
            <a:off x="348096" y="1022844"/>
            <a:ext cx="317632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OUT </a:t>
            </a:r>
          </a:p>
          <a:p>
            <a:r>
              <a:rPr lang="en-US" sz="2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RECORE</a:t>
            </a:r>
          </a:p>
          <a:p>
            <a:r>
              <a:rPr lang="en-US" sz="2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TIONAL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5F257E80-D123-4EAA-8CBD-21A4AD94D377}"/>
              </a:ext>
            </a:extLst>
          </p:cNvPr>
          <p:cNvSpPr txBox="1"/>
          <p:nvPr/>
        </p:nvSpPr>
        <p:spPr>
          <a:xfrm>
            <a:off x="348096" y="2458376"/>
            <a:ext cx="3176328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solidFill>
                  <a:schemeClr val="bg1"/>
                </a:solidFill>
                <a:latin typeface="Arial"/>
                <a:cs typeface="Arial"/>
              </a:rPr>
              <a:t>MEDITECH EXPERTISE </a:t>
            </a:r>
          </a:p>
          <a:p>
            <a:r>
              <a:rPr lang="en-US" b="1">
                <a:solidFill>
                  <a:schemeClr val="bg1"/>
                </a:solidFill>
                <a:latin typeface="Arial"/>
                <a:cs typeface="Arial"/>
              </a:rPr>
              <a:t>&amp; LEADERSHIP</a:t>
            </a:r>
            <a:endParaRPr lang="en-US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TextBox 33">
            <a:extLst>
              <a:ext uri="{FF2B5EF4-FFF2-40B4-BE49-F238E27FC236}">
                <a16:creationId xmlns:a16="http://schemas.microsoft.com/office/drawing/2014/main" id="{C16C27D3-BAD0-4443-967E-5D1C259E0DF8}"/>
              </a:ext>
            </a:extLst>
          </p:cNvPr>
          <p:cNvSpPr txBox="1"/>
          <p:nvPr/>
        </p:nvSpPr>
        <p:spPr>
          <a:xfrm>
            <a:off x="4022474" y="1664414"/>
            <a:ext cx="7426872" cy="383694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lvl="0" indent="0">
              <a:spcBef>
                <a:spcPct val="0"/>
              </a:spcBef>
              <a:defRPr sz="1600" u="none" strike="noStrike">
                <a:solidFill>
                  <a:srgbClr val="192441"/>
                </a:solidFill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100" baseline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Segoe UI" panose="020B0502040204020203" pitchFamily="34" charset="0"/>
              <a:buChar char="+"/>
              <a:defRPr sz="2000">
                <a:solidFill>
                  <a:schemeClr val="tx2"/>
                </a:solidFill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Segoe UI" panose="020B0502040204020203" pitchFamily="34" charset="0"/>
              <a:buChar char="‒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Segoe UI" panose="020B0502040204020203" pitchFamily="34" charset="0"/>
              <a:buChar char="»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285750" indent="-285750">
              <a:spcAft>
                <a:spcPts val="800"/>
              </a:spcAft>
              <a:buSzPct val="150000"/>
              <a:buBlip>
                <a:blip r:embed="rId7"/>
              </a:buBlip>
            </a:pPr>
            <a:r>
              <a:rPr lang="en-GB" sz="1800">
                <a:solidFill>
                  <a:schemeClr val="tx2"/>
                </a:solidFill>
              </a:rPr>
              <a:t>Healthcare Organisation at Heart and Part of HCA Healthcare UK. </a:t>
            </a:r>
            <a:endParaRPr lang="en-GB" sz="1800" b="1">
              <a:solidFill>
                <a:schemeClr val="tx2"/>
              </a:solidFill>
            </a:endParaRPr>
          </a:p>
          <a:p>
            <a:pPr marL="285750" indent="-285750">
              <a:spcAft>
                <a:spcPts val="800"/>
              </a:spcAft>
              <a:buSzPct val="150000"/>
              <a:buBlip>
                <a:blip r:embed="rId7"/>
              </a:buBlip>
            </a:pPr>
            <a:r>
              <a:rPr lang="en-GB" sz="1800" b="1"/>
              <a:t>Incomparable Worldwide Experience</a:t>
            </a:r>
            <a:r>
              <a:rPr lang="en-GB" sz="1800"/>
              <a:t>: Experts in all MEDITECH products, backed by decades of hands-on experience.</a:t>
            </a:r>
            <a:endParaRPr lang="en-GB" sz="1800">
              <a:cs typeface="Segoe UI"/>
            </a:endParaRPr>
          </a:p>
          <a:p>
            <a:pPr marL="285750" indent="-285750">
              <a:spcAft>
                <a:spcPts val="800"/>
              </a:spcAft>
              <a:buSzPct val="150000"/>
              <a:buBlip>
                <a:blip r:embed="rId7"/>
              </a:buBlip>
            </a:pPr>
            <a:r>
              <a:rPr lang="en-GB" sz="1800" b="1"/>
              <a:t>Pioneering Leadership</a:t>
            </a:r>
            <a:r>
              <a:rPr lang="en-GB" sz="1800"/>
              <a:t>: First to implement MEDITECH Expanse in the UK and involved in all MEDITECH Expanse projects for the NHS. </a:t>
            </a:r>
          </a:p>
          <a:p>
            <a:pPr marL="285750" indent="-285750">
              <a:spcAft>
                <a:spcPts val="800"/>
              </a:spcAft>
              <a:buSzPct val="150000"/>
              <a:buBlip>
                <a:blip r:embed="rId7"/>
              </a:buBlip>
            </a:pPr>
            <a:r>
              <a:rPr lang="en-GB" sz="1800"/>
              <a:t>As </a:t>
            </a:r>
            <a:r>
              <a:rPr lang="en-GB" sz="1800" b="1"/>
              <a:t>MEDITECH's largest customer globally </a:t>
            </a:r>
            <a:r>
              <a:rPr lang="en-GB" sz="1800"/>
              <a:t>through HCA, we bring unmatched insight and lead the largest Expanse project in the country through HCA UK. </a:t>
            </a:r>
            <a:endParaRPr lang="en-GB" sz="1800">
              <a:cs typeface="Segoe UI"/>
            </a:endParaRPr>
          </a:p>
          <a:p>
            <a:pPr marL="285750" indent="-285750">
              <a:spcAft>
                <a:spcPts val="800"/>
              </a:spcAft>
              <a:buSzPct val="150000"/>
              <a:buBlip>
                <a:blip r:embed="rId7"/>
              </a:buBlip>
            </a:pPr>
            <a:r>
              <a:rPr lang="en-GB" sz="1800" b="1"/>
              <a:t>Proven Success</a:t>
            </a:r>
            <a:r>
              <a:rPr lang="en-GB" sz="1800"/>
              <a:t>: </a:t>
            </a:r>
            <a:r>
              <a:rPr lang="en-GB" sz="1800" b="1"/>
              <a:t>&gt;300 successful MEDITECH implementations</a:t>
            </a:r>
            <a:r>
              <a:rPr lang="en-GB" sz="1800"/>
              <a:t> in the US and UK, and daily support to &gt;50 MEDITECH facilities. </a:t>
            </a:r>
            <a:endParaRPr lang="en-GB" sz="1800">
              <a:solidFill>
                <a:schemeClr val="tx2"/>
              </a:solidFill>
              <a:cs typeface="Arial"/>
            </a:endParaRPr>
          </a:p>
          <a:p>
            <a:pPr marL="285750" indent="-285750">
              <a:spcAft>
                <a:spcPts val="800"/>
              </a:spcAft>
              <a:buSzPct val="150000"/>
              <a:buBlip>
                <a:blip r:embed="rId7"/>
              </a:buBlip>
            </a:pPr>
            <a:r>
              <a:rPr lang="en-GB" sz="1800" b="1"/>
              <a:t>Client-Centric Approach</a:t>
            </a:r>
            <a:r>
              <a:rPr lang="en-GB" sz="1800"/>
              <a:t>: Bespoke solutions from design to go-live and beyond.</a:t>
            </a:r>
            <a:endParaRPr lang="en-GB" sz="1800">
              <a:solidFill>
                <a:schemeClr val="tx2"/>
              </a:solidFill>
              <a:cs typeface="Arial"/>
            </a:endParaRPr>
          </a:p>
        </p:txBody>
      </p:sp>
      <p:sp>
        <p:nvSpPr>
          <p:cNvPr id="86" name="TextBox 29">
            <a:extLst>
              <a:ext uri="{FF2B5EF4-FFF2-40B4-BE49-F238E27FC236}">
                <a16:creationId xmlns:a16="http://schemas.microsoft.com/office/drawing/2014/main" id="{5FCE876B-177E-4E07-9638-BAFD58417277}"/>
              </a:ext>
            </a:extLst>
          </p:cNvPr>
          <p:cNvSpPr txBox="1"/>
          <p:nvPr/>
        </p:nvSpPr>
        <p:spPr>
          <a:xfrm>
            <a:off x="4022474" y="778845"/>
            <a:ext cx="6211297" cy="36933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lvl="0" indent="0" algn="ctr">
              <a:lnSpc>
                <a:spcPts val="1609"/>
              </a:lnSpc>
              <a:spcBef>
                <a:spcPct val="0"/>
              </a:spcBef>
              <a:defRPr sz="1658" u="none" strike="noStrike">
                <a:solidFill>
                  <a:srgbClr val="192441"/>
                </a:solidFill>
              </a:defRPr>
            </a:lvl1pPr>
          </a:lstStyle>
          <a:p>
            <a:pPr algn="l">
              <a:lnSpc>
                <a:spcPct val="100000"/>
              </a:lnSpc>
            </a:pPr>
            <a:r>
              <a:rPr lang="en-GB" sz="2400" b="1">
                <a:solidFill>
                  <a:schemeClr val="tx1"/>
                </a:solidFill>
                <a:latin typeface="+mj-lt"/>
              </a:rPr>
              <a:t>UNMATCHED MEDITECH EXPERIENCE</a:t>
            </a:r>
            <a:endParaRPr lang="en-US" sz="2400" b="1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479202981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CA99C01-787F-498B-B9ED-2E49F2DCD62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123468"/>
            <a:ext cx="2062942" cy="715963"/>
          </a:xfrm>
          <a:solidFill>
            <a:schemeClr val="accent2"/>
          </a:solidFill>
          <a:ln>
            <a:solidFill>
              <a:schemeClr val="tx1"/>
            </a:solidFill>
          </a:ln>
        </p:spPr>
        <p:txBody>
          <a:bodyPr anchor="ctr"/>
          <a:lstStyle/>
          <a:p>
            <a:r>
              <a:rPr lang="en-GB"/>
              <a:t>STRATEGIC APPROACH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F63C1A2-12A1-47C9-99C4-9A45CF8A7E05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838200" y="2953740"/>
            <a:ext cx="2062942" cy="2250976"/>
          </a:xfrm>
          <a:ln>
            <a:solidFill>
              <a:schemeClr val="tx1"/>
            </a:solidFill>
          </a:ln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1600" dirty="0"/>
              <a:t>We can help you develop a clear strategy for standardisation to ensure alignment with organisational goals.</a:t>
            </a:r>
          </a:p>
          <a:p>
            <a:pPr marL="0" indent="0">
              <a:buNone/>
            </a:pPr>
            <a:endParaRPr lang="en-GB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3ED029D-482F-42AA-95FF-6D3350D5C5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OW WE CAN HELP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239763B-B12C-4D0F-AAD6-D0D9F0DA2CBA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3027218" y="2123468"/>
            <a:ext cx="2062942" cy="715963"/>
          </a:xfrm>
          <a:solidFill>
            <a:schemeClr val="accent2"/>
          </a:solidFill>
          <a:ln>
            <a:solidFill>
              <a:schemeClr val="tx1"/>
            </a:solidFill>
          </a:ln>
        </p:spPr>
        <p:txBody>
          <a:bodyPr anchor="ctr"/>
          <a:lstStyle/>
          <a:p>
            <a:r>
              <a:rPr lang="en-GB"/>
              <a:t>GOVERNANCE MATTER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96C093F-0843-4ABA-82A8-1B98B47B8304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3027218" y="2953740"/>
            <a:ext cx="2062942" cy="2250976"/>
          </a:xfrm>
          <a:ln>
            <a:solidFill>
              <a:schemeClr val="tx1"/>
            </a:solidFill>
          </a:ln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1600" dirty="0"/>
              <a:t>We can help you implement structured governance to oversee decision-making and track progress.</a:t>
            </a:r>
          </a:p>
          <a:p>
            <a:endParaRPr lang="en-GB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BB8F524F-BE17-49EA-B4A2-C3FF187DAEC3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5216236" y="2123468"/>
            <a:ext cx="2062942" cy="715963"/>
          </a:xfrm>
          <a:solidFill>
            <a:schemeClr val="accent2"/>
          </a:solidFill>
          <a:ln>
            <a:solidFill>
              <a:schemeClr val="tx1"/>
            </a:solidFill>
          </a:ln>
        </p:spPr>
        <p:txBody>
          <a:bodyPr anchor="ctr"/>
          <a:lstStyle/>
          <a:p>
            <a:r>
              <a:rPr lang="en-GB"/>
              <a:t>INTEROPERABILITY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0560D6D7-7EC2-4386-84EC-B6F449E0370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5216236" y="2953740"/>
            <a:ext cx="2062942" cy="2250976"/>
          </a:xfrm>
          <a:ln>
            <a:solidFill>
              <a:schemeClr val="tx1"/>
            </a:solidFill>
          </a:ln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en-GB" sz="1600" dirty="0"/>
              <a:t>We can help you provide continued improvements to interoperability as well as application rationalisation over time.</a:t>
            </a:r>
            <a:endParaRPr lang="en-US" sz="1600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AAE7A8BD-425C-44DC-8307-8F08C8454F93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7405254" y="2119690"/>
            <a:ext cx="2062942" cy="715963"/>
          </a:xfrm>
          <a:solidFill>
            <a:schemeClr val="accent2"/>
          </a:solidFill>
          <a:ln>
            <a:solidFill>
              <a:schemeClr val="tx1"/>
            </a:solidFill>
          </a:ln>
        </p:spPr>
        <p:txBody>
          <a:bodyPr anchor="ctr"/>
          <a:lstStyle/>
          <a:p>
            <a:r>
              <a:rPr lang="en-GB"/>
              <a:t>CHANGE MANAGEMENT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03C186A6-4E88-42A7-99B6-DF3A6173B19E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7405254" y="2949962"/>
            <a:ext cx="2062942" cy="2254754"/>
          </a:xfrm>
          <a:ln>
            <a:solidFill>
              <a:schemeClr val="tx1"/>
            </a:solidFill>
          </a:ln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1600" dirty="0"/>
              <a:t>We can help you engage stakeholders early and manage changes effectively to ensure smooth implementation.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C4A0D270-789D-43A0-8D06-08F5BEA76BCB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9594272" y="2123468"/>
            <a:ext cx="2062942" cy="715963"/>
          </a:xfrm>
          <a:solidFill>
            <a:schemeClr val="accent2"/>
          </a:solidFill>
          <a:ln>
            <a:solidFill>
              <a:schemeClr val="tx1"/>
            </a:solidFill>
          </a:ln>
        </p:spPr>
        <p:txBody>
          <a:bodyPr anchor="ctr"/>
          <a:lstStyle/>
          <a:p>
            <a:r>
              <a:rPr lang="en-GB"/>
              <a:t>CONTINUOUS IMPROVEMENT</a:t>
            </a: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E7A5C5C4-950C-479F-854D-A72625756EF9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9594272" y="2953740"/>
            <a:ext cx="2062942" cy="2254754"/>
          </a:xfrm>
          <a:ln>
            <a:solidFill>
              <a:schemeClr val="tx1"/>
            </a:solidFill>
          </a:ln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GB" sz="1600" dirty="0"/>
              <a:t>We can help you monitor and evaluate systems to drive ongoing improvements in operational efficiency and patient care.</a:t>
            </a:r>
          </a:p>
          <a:p>
            <a:pPr marL="0" indent="0">
              <a:buNone/>
            </a:pPr>
            <a:endParaRPr lang="en-GB" dirty="0"/>
          </a:p>
        </p:txBody>
      </p:sp>
      <p:sp>
        <p:nvSpPr>
          <p:cNvPr id="14" name="Title 4">
            <a:extLst>
              <a:ext uri="{FF2B5EF4-FFF2-40B4-BE49-F238E27FC236}">
                <a16:creationId xmlns:a16="http://schemas.microsoft.com/office/drawing/2014/main" id="{B3BFBFE8-E5ED-44AE-A750-6DF81E72ECB3}"/>
              </a:ext>
            </a:extLst>
          </p:cNvPr>
          <p:cNvSpPr txBox="1">
            <a:spLocks/>
          </p:cNvSpPr>
          <p:nvPr/>
        </p:nvSpPr>
        <p:spPr>
          <a:xfrm>
            <a:off x="838200" y="1357149"/>
            <a:ext cx="10515600" cy="600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GB" sz="2000" b="0" dirty="0"/>
              <a:t>Key best practices we can help you with:</a:t>
            </a:r>
          </a:p>
        </p:txBody>
      </p:sp>
    </p:spTree>
    <p:extLst>
      <p:ext uri="{BB962C8B-B14F-4D97-AF65-F5344CB8AC3E}">
        <p14:creationId xmlns:p14="http://schemas.microsoft.com/office/powerpoint/2010/main" val="2285447639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 Single Corner Rectangle 4">
            <a:extLst>
              <a:ext uri="{FF2B5EF4-FFF2-40B4-BE49-F238E27FC236}">
                <a16:creationId xmlns:a16="http://schemas.microsoft.com/office/drawing/2014/main" id="{4AE9C6CB-6E15-982A-6C8C-5B4A3FF2C5CD}"/>
              </a:ext>
            </a:extLst>
          </p:cNvPr>
          <p:cNvSpPr/>
          <p:nvPr/>
        </p:nvSpPr>
        <p:spPr>
          <a:xfrm rot="10800000">
            <a:off x="838202" y="5027997"/>
            <a:ext cx="7315449" cy="592576"/>
          </a:xfrm>
          <a:prstGeom prst="round1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B550CAA-96D0-41DF-9374-2C75ABD3E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OPTIMISATION: REALISING LONG-TERM VALU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B728BB1-20F9-4EC3-82A7-8C009A2F2D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146073"/>
            <a:ext cx="10515600" cy="854428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>
              <a:lnSpc>
                <a:spcPct val="120000"/>
              </a:lnSpc>
              <a:buNone/>
            </a:pPr>
            <a:r>
              <a:rPr lang="en-GB" sz="1800" b="1" dirty="0">
                <a:latin typeface="Segoe UI Semibold"/>
                <a:cs typeface="Segoe UI Semibold"/>
              </a:rPr>
              <a:t>Go-live is just the beginning</a:t>
            </a:r>
            <a:r>
              <a:rPr lang="en-GB" sz="1800" dirty="0">
                <a:latin typeface="Segoe UI Semibold"/>
                <a:cs typeface="Segoe UI Semibold"/>
              </a:rPr>
              <a:t>. </a:t>
            </a:r>
            <a:r>
              <a:rPr lang="en-GB" sz="1800" dirty="0">
                <a:latin typeface="Segoe UI"/>
                <a:cs typeface="Segoe UI"/>
              </a:rPr>
              <a:t>Our optimisation offering can help you unlock lasting value from your MEDITECH investment by driving adoption, addressing inefficiencies, and improving outcomes.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CB53E39B-7410-49D8-C53E-01156ACD5A3E}"/>
              </a:ext>
            </a:extLst>
          </p:cNvPr>
          <p:cNvSpPr txBox="1">
            <a:spLocks/>
          </p:cNvSpPr>
          <p:nvPr/>
        </p:nvSpPr>
        <p:spPr>
          <a:xfrm>
            <a:off x="838200" y="5076787"/>
            <a:ext cx="7315451" cy="49499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24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Courier New" panose="02070309020205020404" pitchFamily="49" charset="0"/>
              <a:buChar char="o"/>
              <a:defRPr lang="en-US" sz="2100" kern="1200" baseline="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Segoe UI" panose="020B0502040204020203" pitchFamily="34" charset="0"/>
              <a:buChar char="+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Segoe UI" panose="020B0502040204020203" pitchFamily="34" charset="0"/>
              <a:buChar char="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Segoe UI" panose="020B0502040204020203" pitchFamily="34" charset="0"/>
              <a:buChar char="»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buNone/>
            </a:pPr>
            <a:r>
              <a:rPr lang="en-GB" b="1" dirty="0">
                <a:solidFill>
                  <a:srgbClr val="2D3741"/>
                </a:solidFill>
                <a:latin typeface="Segoe UI Semibold"/>
                <a:cs typeface="Segoe UI Semibold"/>
              </a:rPr>
              <a:t>&gt;20 Assessments/Optimisations in the last 2 years</a:t>
            </a:r>
          </a:p>
          <a:p>
            <a:pPr marL="0" indent="0">
              <a:lnSpc>
                <a:spcPct val="120000"/>
              </a:lnSpc>
              <a:buNone/>
            </a:pPr>
            <a:endParaRPr lang="en-GB" sz="1600" b="1" dirty="0">
              <a:solidFill>
                <a:schemeClr val="accent2"/>
              </a:solidFill>
              <a:latin typeface="Segoe UI Semibold"/>
              <a:cs typeface="Segoe UI Semibold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B7C835-1683-4F7F-A4F2-E0F817E265FB}"/>
              </a:ext>
            </a:extLst>
          </p:cNvPr>
          <p:cNvSpPr txBox="1"/>
          <p:nvPr/>
        </p:nvSpPr>
        <p:spPr>
          <a:xfrm>
            <a:off x="831406" y="2219790"/>
            <a:ext cx="10522394" cy="2418419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lnSpc>
                <a:spcPct val="150000"/>
              </a:lnSpc>
              <a:buClr>
                <a:schemeClr val="tx1"/>
              </a:buClr>
              <a:buSzPct val="150000"/>
              <a:buFont typeface="Arial"/>
              <a:buBlip>
                <a:blip r:embed="rId3"/>
              </a:buBlip>
            </a:pPr>
            <a:r>
              <a:rPr lang="en-GB" sz="2600" dirty="0">
                <a:solidFill>
                  <a:schemeClr val="tx2"/>
                </a:solidFill>
                <a:latin typeface="Segoe UI"/>
                <a:cs typeface="Segoe UI"/>
              </a:rPr>
              <a:t>Targeted system assessments</a:t>
            </a:r>
          </a:p>
          <a:p>
            <a:pPr marL="285750" indent="-285750">
              <a:lnSpc>
                <a:spcPct val="150000"/>
              </a:lnSpc>
              <a:buClr>
                <a:schemeClr val="tx1"/>
              </a:buClr>
              <a:buSzPct val="150000"/>
              <a:buBlip>
                <a:blip r:embed="rId3"/>
              </a:buBlip>
            </a:pPr>
            <a:r>
              <a:rPr lang="en-GB" sz="2600" dirty="0">
                <a:solidFill>
                  <a:schemeClr val="tx2"/>
                </a:solidFill>
                <a:latin typeface="Segoe UI"/>
                <a:cs typeface="Segoe UI"/>
              </a:rPr>
              <a:t>Data-driven strategy</a:t>
            </a:r>
          </a:p>
          <a:p>
            <a:pPr marL="285750" indent="-285750">
              <a:lnSpc>
                <a:spcPct val="150000"/>
              </a:lnSpc>
              <a:buClr>
                <a:schemeClr val="tx1"/>
              </a:buClr>
              <a:buSzPct val="150000"/>
              <a:buBlip>
                <a:blip r:embed="rId3"/>
              </a:buBlip>
            </a:pPr>
            <a:r>
              <a:rPr lang="en-GB" sz="2600" dirty="0">
                <a:solidFill>
                  <a:schemeClr val="tx2"/>
                </a:solidFill>
                <a:cs typeface="Segoe UI"/>
              </a:rPr>
              <a:t>Expert-led, partner model</a:t>
            </a:r>
          </a:p>
          <a:p>
            <a:pPr marL="285750" indent="-285750">
              <a:lnSpc>
                <a:spcPct val="150000"/>
              </a:lnSpc>
              <a:buClr>
                <a:schemeClr val="tx1"/>
              </a:buClr>
              <a:buSzPct val="150000"/>
              <a:buBlip>
                <a:blip r:embed="rId3"/>
              </a:buBlip>
            </a:pPr>
            <a:r>
              <a:rPr lang="en-GB" sz="2600" dirty="0">
                <a:solidFill>
                  <a:schemeClr val="tx2"/>
                </a:solidFill>
                <a:cs typeface="Segoe UI"/>
              </a:rPr>
              <a:t>Quick wins, sustained progress</a:t>
            </a:r>
          </a:p>
        </p:txBody>
      </p:sp>
    </p:spTree>
    <p:extLst>
      <p:ext uri="{BB962C8B-B14F-4D97-AF65-F5344CB8AC3E}">
        <p14:creationId xmlns:p14="http://schemas.microsoft.com/office/powerpoint/2010/main" val="147131448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0476CA-0E17-AD9E-D47C-28BDF13011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F1078B-224B-2F67-A61B-75ABAE030C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latin typeface="Arial"/>
                <a:cs typeface="Arial"/>
              </a:rPr>
              <a:t>KEY TAKEAWAY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E754FA7-2F63-BCB2-19FF-38A3391EEA13}"/>
              </a:ext>
            </a:extLst>
          </p:cNvPr>
          <p:cNvSpPr txBox="1"/>
          <p:nvPr/>
        </p:nvSpPr>
        <p:spPr>
          <a:xfrm>
            <a:off x="831404" y="1659285"/>
            <a:ext cx="10529191" cy="3539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buClr>
                <a:schemeClr val="tx1"/>
              </a:buClr>
              <a:buSzPct val="150000"/>
              <a:buFont typeface="Arial"/>
              <a:buBlip>
                <a:blip r:embed="rId4"/>
              </a:buBlip>
            </a:pPr>
            <a:r>
              <a:rPr lang="en-GB" sz="2800" dirty="0">
                <a:solidFill>
                  <a:schemeClr val="tx2"/>
                </a:solidFill>
                <a:latin typeface="Segoe UI"/>
                <a:cs typeface="Segoe UI"/>
              </a:rPr>
              <a:t>Having a modern EPR is essential. However, selecting an excellent product is just the beginning.</a:t>
            </a:r>
          </a:p>
          <a:p>
            <a:pPr marL="285750" indent="-285750">
              <a:buClr>
                <a:schemeClr val="tx1"/>
              </a:buClr>
              <a:buSzPct val="150000"/>
              <a:buBlip>
                <a:blip r:embed="rId4"/>
              </a:buBlip>
            </a:pPr>
            <a:endParaRPr lang="en-GB" sz="2800" dirty="0">
              <a:solidFill>
                <a:schemeClr val="tx2"/>
              </a:solidFill>
              <a:latin typeface="Segoe UI"/>
              <a:cs typeface="Segoe UI"/>
            </a:endParaRPr>
          </a:p>
          <a:p>
            <a:pPr marL="285750" indent="-285750">
              <a:buClr>
                <a:schemeClr val="tx1"/>
              </a:buClr>
              <a:buSzPct val="150000"/>
              <a:buBlip>
                <a:blip r:embed="rId4"/>
              </a:buBlip>
            </a:pPr>
            <a:r>
              <a:rPr lang="en-GB" sz="2800" dirty="0">
                <a:solidFill>
                  <a:schemeClr val="tx2"/>
                </a:solidFill>
                <a:latin typeface="Segoe UI"/>
                <a:cs typeface="Segoe UI"/>
              </a:rPr>
              <a:t>Similar systems can lead to very different outcomes. Success depends on how well they have been implemented.</a:t>
            </a:r>
          </a:p>
          <a:p>
            <a:pPr>
              <a:buClr>
                <a:schemeClr val="tx1"/>
              </a:buClr>
              <a:buSzPct val="150000"/>
            </a:pPr>
            <a:endParaRPr lang="en-GB" sz="2800" dirty="0">
              <a:solidFill>
                <a:schemeClr val="tx2"/>
              </a:solidFill>
              <a:latin typeface="Segoe UI"/>
              <a:cs typeface="Segoe UI"/>
            </a:endParaRPr>
          </a:p>
          <a:p>
            <a:pPr marL="285750" indent="-285750">
              <a:buClr>
                <a:schemeClr val="tx1"/>
              </a:buClr>
              <a:buSzPct val="150000"/>
              <a:buBlip>
                <a:blip r:embed="rId4"/>
              </a:buBlip>
            </a:pPr>
            <a:r>
              <a:rPr lang="en-GB" sz="2800" dirty="0">
                <a:solidFill>
                  <a:schemeClr val="tx2"/>
                </a:solidFill>
                <a:cs typeface="Segoe UI"/>
              </a:rPr>
              <a:t>No other provider globally has delivered more successful implementations and optimisations than we have. </a:t>
            </a:r>
          </a:p>
        </p:txBody>
      </p:sp>
    </p:spTree>
    <p:extLst>
      <p:ext uri="{BB962C8B-B14F-4D97-AF65-F5344CB8AC3E}">
        <p14:creationId xmlns:p14="http://schemas.microsoft.com/office/powerpoint/2010/main" val="1420861985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000904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006D93-6770-46A0-B055-4D3AA42D87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UBLIC SATISFACTION WITH NHS IS DECLINING</a:t>
            </a:r>
          </a:p>
        </p:txBody>
      </p:sp>
      <p:sp>
        <p:nvSpPr>
          <p:cNvPr id="5" name="Rectangle: Top Corners Rounded 4">
            <a:extLst>
              <a:ext uri="{FF2B5EF4-FFF2-40B4-BE49-F238E27FC236}">
                <a16:creationId xmlns:a16="http://schemas.microsoft.com/office/drawing/2014/main" id="{702780C4-5A9E-4F3D-BB52-5CAADF765097}"/>
              </a:ext>
            </a:extLst>
          </p:cNvPr>
          <p:cNvSpPr/>
          <p:nvPr/>
        </p:nvSpPr>
        <p:spPr>
          <a:xfrm>
            <a:off x="894235" y="1110378"/>
            <a:ext cx="6229350" cy="472364"/>
          </a:xfrm>
          <a:prstGeom prst="round2SameRect">
            <a:avLst>
              <a:gd name="adj1" fmla="val 31219"/>
              <a:gd name="adj2" fmla="val 0"/>
            </a:avLst>
          </a:prstGeom>
          <a:solidFill>
            <a:schemeClr val="tx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AA07428A-8AC1-4E95-B083-5F0D89E31DC7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6793983"/>
              </p:ext>
            </p:extLst>
          </p:nvPr>
        </p:nvGraphicFramePr>
        <p:xfrm>
          <a:off x="1416050" y="2447929"/>
          <a:ext cx="9426575" cy="3381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97A49F83-4646-41B0-AA22-E723A84B2164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gray">
          <a:xfrm>
            <a:off x="1497013" y="2303467"/>
            <a:ext cx="2032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effectLst/>
              </a:rPr>
              <a:t>(%)</a:t>
            </a:r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7A5A68B-AF09-4A94-A444-FD5763E1CFAA}"/>
              </a:ext>
            </a:extLst>
          </p:cNvPr>
          <p:cNvSpPr txBox="1"/>
          <p:nvPr/>
        </p:nvSpPr>
        <p:spPr>
          <a:xfrm>
            <a:off x="838200" y="1668144"/>
            <a:ext cx="10215539" cy="58477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 sz="1600" b="0" i="0" dirty="0">
                <a:solidFill>
                  <a:srgbClr val="575757"/>
                </a:solidFill>
                <a:effectLst/>
              </a:rPr>
              <a:t>Since 2020, satisfaction with the NHS has seen an unprecedented drop of 29%, and </a:t>
            </a:r>
            <a:r>
              <a:rPr lang="en-GB" sz="1600" dirty="0">
                <a:solidFill>
                  <a:srgbClr val="575757"/>
                </a:solidFill>
              </a:rPr>
              <a:t>d</a:t>
            </a:r>
            <a:r>
              <a:rPr lang="en-GB" sz="1600" b="0" i="0" dirty="0">
                <a:solidFill>
                  <a:srgbClr val="575757"/>
                </a:solidFill>
                <a:effectLst/>
              </a:rPr>
              <a:t>issatisfaction is also at a record high</a:t>
            </a:r>
            <a:r>
              <a:rPr lang="en-GB" sz="1600" dirty="0">
                <a:solidFill>
                  <a:srgbClr val="575757"/>
                </a:solidFill>
              </a:rPr>
              <a:t> of </a:t>
            </a:r>
            <a:r>
              <a:rPr lang="en-GB" sz="1600" b="0" i="0" dirty="0">
                <a:solidFill>
                  <a:srgbClr val="575757"/>
                </a:solidFill>
                <a:effectLst/>
              </a:rPr>
              <a:t>52%</a:t>
            </a:r>
            <a:endParaRPr lang="en-US" sz="1600" dirty="0">
              <a:solidFill>
                <a:srgbClr val="575757"/>
              </a:solidFill>
            </a:endParaRPr>
          </a:p>
        </p:txBody>
      </p:sp>
      <p:sp>
        <p:nvSpPr>
          <p:cNvPr id="10" name="ee4pHeader2">
            <a:extLst>
              <a:ext uri="{FF2B5EF4-FFF2-40B4-BE49-F238E27FC236}">
                <a16:creationId xmlns:a16="http://schemas.microsoft.com/office/drawing/2014/main" id="{1D9AD898-6D94-49FB-95E7-DC46B5B5A815}"/>
              </a:ext>
            </a:extLst>
          </p:cNvPr>
          <p:cNvSpPr txBox="1"/>
          <p:nvPr/>
        </p:nvSpPr>
        <p:spPr>
          <a:xfrm>
            <a:off x="1028700" y="1160926"/>
            <a:ext cx="5886366" cy="375390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en-GB" dirty="0">
                <a:solidFill>
                  <a:schemeClr val="accent1"/>
                </a:solidFill>
              </a:rPr>
              <a:t>Overall satisfaction with the NHS fell to 24% in 2023</a:t>
            </a:r>
          </a:p>
        </p:txBody>
      </p:sp>
      <p:sp>
        <p:nvSpPr>
          <p:cNvPr id="11" name="ee4pFootnotes">
            <a:extLst>
              <a:ext uri="{FF2B5EF4-FFF2-40B4-BE49-F238E27FC236}">
                <a16:creationId xmlns:a16="http://schemas.microsoft.com/office/drawing/2014/main" id="{1D1986C4-BF38-4FBC-858C-CB33B37F11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8200" y="6024314"/>
            <a:ext cx="8490438" cy="2769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Note: </a:t>
            </a:r>
            <a:r>
              <a:rPr lang="en-GB" sz="1000" dirty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The King’s Fund and Nuffield Trust analysis of </a:t>
            </a:r>
            <a:r>
              <a:rPr lang="en-GB" sz="1000" dirty="0" err="1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NatCen’s</a:t>
            </a:r>
            <a:r>
              <a:rPr lang="en-GB" sz="1000" dirty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 </a:t>
            </a:r>
            <a:r>
              <a:rPr lang="en-GB" sz="1000" dirty="0" err="1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BSA</a:t>
            </a:r>
            <a:r>
              <a:rPr lang="en-GB" sz="1000" dirty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 survey data. 2023 sample size = 3,374. Data has been weighted to minimise differences due methodology changes from 2020 onwards - </a:t>
            </a:r>
            <a:r>
              <a:rPr lang="en-US" sz="1000" dirty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Source: </a:t>
            </a:r>
            <a:r>
              <a:rPr lang="en-US" sz="1000" dirty="0">
                <a:solidFill>
                  <a:schemeClr val="bg1">
                    <a:lumMod val="50000"/>
                  </a:schemeClr>
                </a:solidFill>
                <a:cs typeface="Arial" pitchFamily="34" charset="0"/>
                <a:hlinkClick r:id="rId5"/>
              </a:rPr>
              <a:t>The King's Fund, Public Satisfaction with the NHS (2023)</a:t>
            </a:r>
            <a:endParaRPr lang="en-US" sz="1000" dirty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98375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5F81DF-B383-4225-AEC5-5CEDEEA115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GB" dirty="0"/>
              <a:t>A&amp;E WAITING TIME PERFORMANCE HAS DETERIORATED OVER THE PAST DECADE</a:t>
            </a:r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CD20E47-135F-4D57-8D09-5B89B6200D72}"/>
              </a:ext>
            </a:extLst>
          </p:cNvPr>
          <p:cNvSpPr/>
          <p:nvPr/>
        </p:nvSpPr>
        <p:spPr>
          <a:xfrm flipV="1">
            <a:off x="821784" y="6049355"/>
            <a:ext cx="4781763" cy="889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7" name="Rectangle: Top Corners Rounded 6">
            <a:extLst>
              <a:ext uri="{FF2B5EF4-FFF2-40B4-BE49-F238E27FC236}">
                <a16:creationId xmlns:a16="http://schemas.microsoft.com/office/drawing/2014/main" id="{DC5F7176-8490-4DF8-9936-18CCCB7A7C29}"/>
              </a:ext>
            </a:extLst>
          </p:cNvPr>
          <p:cNvSpPr/>
          <p:nvPr/>
        </p:nvSpPr>
        <p:spPr>
          <a:xfrm flipV="1">
            <a:off x="5836697" y="6033371"/>
            <a:ext cx="5726653" cy="113907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2932BB4E-0455-4C39-920F-0E9905B2B429}"/>
              </a:ext>
            </a:extLst>
          </p:cNvPr>
          <p:cNvSpPr/>
          <p:nvPr/>
        </p:nvSpPr>
        <p:spPr>
          <a:xfrm>
            <a:off x="993386" y="1170968"/>
            <a:ext cx="4438558" cy="585788"/>
          </a:xfrm>
          <a:prstGeom prst="round2SameRect">
            <a:avLst>
              <a:gd name="adj1" fmla="val 31219"/>
              <a:gd name="adj2" fmla="val 0"/>
            </a:avLst>
          </a:prstGeom>
          <a:solidFill>
            <a:schemeClr val="bg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9" name="Rectangle: Top Corners Rounded 8">
            <a:extLst>
              <a:ext uri="{FF2B5EF4-FFF2-40B4-BE49-F238E27FC236}">
                <a16:creationId xmlns:a16="http://schemas.microsoft.com/office/drawing/2014/main" id="{0DD5C5CA-3750-48F3-BB08-C56859A4AC9D}"/>
              </a:ext>
            </a:extLst>
          </p:cNvPr>
          <p:cNvSpPr/>
          <p:nvPr/>
        </p:nvSpPr>
        <p:spPr>
          <a:xfrm>
            <a:off x="6009397" y="1170968"/>
            <a:ext cx="5381253" cy="585788"/>
          </a:xfrm>
          <a:prstGeom prst="round2SameRect">
            <a:avLst>
              <a:gd name="adj1" fmla="val 31219"/>
              <a:gd name="adj2" fmla="val 0"/>
            </a:avLst>
          </a:prstGeom>
          <a:solidFill>
            <a:schemeClr val="bg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DA84425-5FC5-489B-B9B4-C88A5061AB26}"/>
              </a:ext>
            </a:extLst>
          </p:cNvPr>
          <p:cNvCxnSpPr/>
          <p:nvPr>
            <p:custDataLst>
              <p:tags r:id="rId1"/>
            </p:custDataLst>
          </p:nvPr>
        </p:nvCxnSpPr>
        <p:spPr bwMode="gray">
          <a:xfrm>
            <a:off x="1144588" y="5185755"/>
            <a:ext cx="0" cy="68263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06DD348-1868-4438-BB89-D50896204D00}"/>
              </a:ext>
            </a:extLst>
          </p:cNvPr>
          <p:cNvCxnSpPr/>
          <p:nvPr>
            <p:custDataLst>
              <p:tags r:id="rId2"/>
            </p:custDataLst>
          </p:nvPr>
        </p:nvCxnSpPr>
        <p:spPr bwMode="gray">
          <a:xfrm>
            <a:off x="2457450" y="5185755"/>
            <a:ext cx="0" cy="68263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13CD704-10B9-480E-993B-960376FC5E47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>
            <a:off x="3768725" y="5185755"/>
            <a:ext cx="0" cy="68263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38B48451-0485-4C91-BE5E-2F750822F054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628403125"/>
              </p:ext>
            </p:extLst>
          </p:nvPr>
        </p:nvGraphicFramePr>
        <p:xfrm>
          <a:off x="639763" y="2034568"/>
          <a:ext cx="4375150" cy="3498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B129E491-3864-4D31-B6F4-6B4EEE552C48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844550" y="5304818"/>
            <a:ext cx="601663" cy="268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0A9DFFD-D8CA-4B26-BA3F-848CA175E6E7}" type="datetime'''''''''Ja''''''n''''''''''''''''-1''0'''''''''''''''''''">
              <a:rPr lang="en-US" altLang="en-US" sz="1600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Jan-10</a:t>
            </a:fld>
            <a:endParaRPr lang="en-US" sz="1600" dirty="0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46790F54-0771-4EA1-8600-DA40B4823E1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157413" y="5304818"/>
            <a:ext cx="601663" cy="268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D1FA8BA-E6AB-4BBA-86B6-BAE5B38072F1}" type="datetime'''''''J''a''''''''''n''''''''''''''''''''''-1''''''''5'''''''">
              <a:rPr lang="en-US" altLang="en-US" sz="1600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Jan-15</a:t>
            </a:fld>
            <a:endParaRPr lang="en-US" sz="1600" dirty="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481ECAA2-8420-4300-BA2B-0BAA4A8C14FF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3468688" y="5304818"/>
            <a:ext cx="601663" cy="268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EA97C14-FAE5-4C25-9F15-D6305B5E91AD}" type="datetime'''J''''''''''''a''''''n''''-''2''''0'''''''''''''''''''''">
              <a:rPr lang="en-US" altLang="en-US" sz="1600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Jan-20</a:t>
            </a:fld>
            <a:endParaRPr lang="en-US" sz="1600" dirty="0"/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B49BF223-93D0-4168-975E-FB5508DE01C3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754063" y="1913918"/>
            <a:ext cx="14573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effectLst/>
              </a:rPr>
              <a:t>% seen </a:t>
            </a:r>
            <a:r>
              <a:rPr lang="en-US" altLang="en-US" dirty="0"/>
              <a:t>within 4 hours</a:t>
            </a:r>
            <a:endParaRPr lang="en-US" dirty="0"/>
          </a:p>
        </p:txBody>
      </p:sp>
      <p:sp>
        <p:nvSpPr>
          <p:cNvPr id="20" name="ee4pHeader2">
            <a:extLst>
              <a:ext uri="{FF2B5EF4-FFF2-40B4-BE49-F238E27FC236}">
                <a16:creationId xmlns:a16="http://schemas.microsoft.com/office/drawing/2014/main" id="{C7FF0E17-82D7-48EC-B227-7AC1167447CD}"/>
              </a:ext>
            </a:extLst>
          </p:cNvPr>
          <p:cNvSpPr txBox="1"/>
          <p:nvPr/>
        </p:nvSpPr>
        <p:spPr>
          <a:xfrm>
            <a:off x="6009398" y="1217800"/>
            <a:ext cx="5353134" cy="492125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en-US" sz="1400" dirty="0">
                <a:solidFill>
                  <a:srgbClr val="FFFFFF"/>
                </a:solidFill>
              </a:rPr>
              <a:t>In the last 4 years, there has been a 95% increase in the number patients waiting over 12 hours in </a:t>
            </a:r>
            <a:r>
              <a:rPr lang="en-US" sz="1400" dirty="0" err="1">
                <a:solidFill>
                  <a:srgbClr val="FFFFFF"/>
                </a:solidFill>
              </a:rPr>
              <a:t>A&amp;E</a:t>
            </a:r>
            <a:r>
              <a:rPr lang="en-US" sz="1400" dirty="0">
                <a:solidFill>
                  <a:srgbClr val="FFFFFF"/>
                </a:solidFill>
              </a:rPr>
              <a:t>, rising to 141,693 in March 2024</a:t>
            </a:r>
            <a:endParaRPr lang="en-US" sz="1400" baseline="30000" dirty="0">
              <a:solidFill>
                <a:srgbClr val="FFFFFF"/>
              </a:solidFill>
            </a:endParaRPr>
          </a:p>
        </p:txBody>
      </p:sp>
      <p:sp>
        <p:nvSpPr>
          <p:cNvPr id="21" name="ee4pHeader2">
            <a:extLst>
              <a:ext uri="{FF2B5EF4-FFF2-40B4-BE49-F238E27FC236}">
                <a16:creationId xmlns:a16="http://schemas.microsoft.com/office/drawing/2014/main" id="{1B741D69-D7D6-4D88-A4D2-1C1571561C1E}"/>
              </a:ext>
            </a:extLst>
          </p:cNvPr>
          <p:cNvSpPr txBox="1"/>
          <p:nvPr/>
        </p:nvSpPr>
        <p:spPr>
          <a:xfrm>
            <a:off x="1040644" y="1217800"/>
            <a:ext cx="4344042" cy="492125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en-US" sz="1400" dirty="0">
                <a:solidFill>
                  <a:srgbClr val="FFFFFF"/>
                </a:solidFill>
              </a:rPr>
              <a:t>By March 2024, only 74% of </a:t>
            </a:r>
            <a:r>
              <a:rPr lang="en-US" sz="1400" dirty="0" err="1">
                <a:solidFill>
                  <a:srgbClr val="FFFFFF"/>
                </a:solidFill>
              </a:rPr>
              <a:t>A&amp;E</a:t>
            </a:r>
            <a:r>
              <a:rPr lang="en-US" sz="1400" dirty="0">
                <a:solidFill>
                  <a:srgbClr val="FFFFFF"/>
                </a:solidFill>
              </a:rPr>
              <a:t> patients were seen in under 4 hours, falling short of the 95% target</a:t>
            </a:r>
            <a:endParaRPr lang="en-US" sz="1400" baseline="30000" dirty="0">
              <a:solidFill>
                <a:srgbClr val="FFFFFF"/>
              </a:solidFill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97615F5-1022-4E61-B0F4-86752A2E2676}"/>
              </a:ext>
            </a:extLst>
          </p:cNvPr>
          <p:cNvCxnSpPr>
            <a:cxnSpLocks/>
          </p:cNvCxnSpPr>
          <p:nvPr/>
        </p:nvCxnSpPr>
        <p:spPr>
          <a:xfrm flipH="1">
            <a:off x="5738844" y="1883755"/>
            <a:ext cx="0" cy="4098925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590711B0-FBD0-4B46-B5F3-B385A04B4EEF}"/>
              </a:ext>
            </a:extLst>
          </p:cNvPr>
          <p:cNvSpPr txBox="1"/>
          <p:nvPr/>
        </p:nvSpPr>
        <p:spPr>
          <a:xfrm>
            <a:off x="4453452" y="5172430"/>
            <a:ext cx="808038" cy="33855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600" dirty="0">
                <a:solidFill>
                  <a:srgbClr val="575757"/>
                </a:solidFill>
              </a:rPr>
              <a:t>Mar-24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D67069F0-E141-4FD4-BEC4-52842878877B}"/>
              </a:ext>
            </a:extLst>
          </p:cNvPr>
          <p:cNvCxnSpPr/>
          <p:nvPr/>
        </p:nvCxnSpPr>
        <p:spPr>
          <a:xfrm>
            <a:off x="4884339" y="5088507"/>
            <a:ext cx="0" cy="108000"/>
          </a:xfrm>
          <a:prstGeom prst="line">
            <a:avLst/>
          </a:prstGeom>
          <a:ln w="12700" cap="rnd">
            <a:solidFill>
              <a:schemeClr val="accent5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00E2EFA1-A2DE-427B-A423-4F293DA29E23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1314450" y="5742968"/>
            <a:ext cx="185738" cy="0"/>
          </a:xfrm>
          <a:prstGeom prst="line">
            <a:avLst/>
          </a:prstGeom>
          <a:ln w="2857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0ACF29E3-BD0B-42E7-B6CC-520E59E1047B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>
            <a:off x="3636963" y="5742968"/>
            <a:ext cx="185738" cy="0"/>
          </a:xfrm>
          <a:prstGeom prst="line">
            <a:avLst/>
          </a:prstGeom>
          <a:ln w="28575" cap="rnd" cmpd="sng" algn="ctr">
            <a:solidFill>
              <a:srgbClr val="837F7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375A7807-92F1-4293-8EFA-1E81B3DD553B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565275" y="5644543"/>
            <a:ext cx="19558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335338C3-0344-4362-944B-E851738E201A}" type="datetime'''''Pe''''''rc''entag''e ''in'' 4 ''ho''''''urs or l''''ess'''">
              <a:rPr lang="en-GB" altLang="en-US" smtClean="0"/>
              <a:pPr/>
              <a:t>Percentage in 4 hours or less</a:t>
            </a:fld>
            <a:endParaRPr lang="en-US" dirty="0"/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97A9967D-AB4A-491E-914B-E16DB0DEBD3C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3887788" y="5644543"/>
            <a:ext cx="7207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DAA2C31A-7B19-420B-B163-62672C0E35B9}" type="datetime'''''''''''''9''5''''% T''''a''''''''''''''rg''''''''''et'">
              <a:rPr lang="en-US" altLang="en-US" smtClean="0"/>
              <a:pPr/>
              <a:t>95% Target</a:t>
            </a:fld>
            <a:endParaRPr lang="en-US" dirty="0"/>
          </a:p>
        </p:txBody>
      </p:sp>
      <p:sp>
        <p:nvSpPr>
          <p:cNvPr id="29" name="ee4pFootnotes">
            <a:extLst>
              <a:ext uri="{FF2B5EF4-FFF2-40B4-BE49-F238E27FC236}">
                <a16:creationId xmlns:a16="http://schemas.microsoft.com/office/drawing/2014/main" id="{B773F816-CFB7-4FC5-A56B-7A8251D882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3429" y="6254393"/>
            <a:ext cx="9030914" cy="1384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Source: </a:t>
            </a:r>
            <a:r>
              <a:rPr lang="en-GB" sz="1000" dirty="0">
                <a:solidFill>
                  <a:schemeClr val="bg1">
                    <a:lumMod val="50000"/>
                  </a:schemeClr>
                </a:solidFill>
                <a:cs typeface="Arial" pitchFamily="34" charset="0"/>
                <a:hlinkClick r:id="rId26"/>
              </a:rPr>
              <a:t>The King's Fund – A&amp;E wait times (2024)</a:t>
            </a:r>
            <a:endParaRPr lang="en-US" sz="1000" dirty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2B23F730-79B4-4FF8-9533-0D17E9147939}"/>
              </a:ext>
            </a:extLst>
          </p:cNvPr>
          <p:cNvCxnSpPr/>
          <p:nvPr>
            <p:custDataLst>
              <p:tags r:id="rId13"/>
            </p:custDataLst>
          </p:nvPr>
        </p:nvCxnSpPr>
        <p:spPr bwMode="gray">
          <a:xfrm>
            <a:off x="6848475" y="5173055"/>
            <a:ext cx="0" cy="68263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C985FD3D-65E0-4B1F-A41E-5488E35615C7}"/>
              </a:ext>
            </a:extLst>
          </p:cNvPr>
          <p:cNvCxnSpPr/>
          <p:nvPr>
            <p:custDataLst>
              <p:tags r:id="rId14"/>
            </p:custDataLst>
          </p:nvPr>
        </p:nvCxnSpPr>
        <p:spPr bwMode="gray">
          <a:xfrm>
            <a:off x="8718550" y="5173055"/>
            <a:ext cx="0" cy="68263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DB8B311D-A656-45D6-B1AD-424FB1350A69}"/>
              </a:ext>
            </a:extLst>
          </p:cNvPr>
          <p:cNvCxnSpPr/>
          <p:nvPr>
            <p:custDataLst>
              <p:tags r:id="rId15"/>
            </p:custDataLst>
          </p:nvPr>
        </p:nvCxnSpPr>
        <p:spPr bwMode="gray">
          <a:xfrm>
            <a:off x="10588625" y="5173055"/>
            <a:ext cx="0" cy="68263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33" name="Chart 32">
            <a:extLst>
              <a:ext uri="{FF2B5EF4-FFF2-40B4-BE49-F238E27FC236}">
                <a16:creationId xmlns:a16="http://schemas.microsoft.com/office/drawing/2014/main" id="{C5D099C9-C347-4293-8220-9007882777F4}"/>
              </a:ext>
            </a:extLst>
          </p:cNvPr>
          <p:cNvGraphicFramePr/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572120697"/>
              </p:ext>
            </p:extLst>
          </p:nvPr>
        </p:nvGraphicFramePr>
        <p:xfrm>
          <a:off x="6049963" y="1986943"/>
          <a:ext cx="4629150" cy="3533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83FC1CA5-70CD-4E2A-BA00-BC0C5EAA9462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6548438" y="5292118"/>
            <a:ext cx="601663" cy="268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CBB9C95-DC63-4578-8BD4-4B88DBE83756}" type="datetime'J''''''''''a''''''n''''''''''-''''1''5'''''''''''''''''''''">
              <a:rPr lang="en-US" altLang="en-US" sz="1600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Jan-15</a:t>
            </a:fld>
            <a:endParaRPr lang="en-US" sz="1600" dirty="0"/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217FA384-895A-470F-8651-4D2B9B2AEEB3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8418513" y="5292118"/>
            <a:ext cx="601663" cy="268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731091E-2ABB-4DE2-B50E-85E3ECFD4BE7}" type="datetime'Ja''''''''''''''''''''n''''''''''''''-2''''''''''0'''''''''">
              <a:rPr lang="en-US" altLang="en-US" sz="1600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Jan-20</a:t>
            </a:fld>
            <a:endParaRPr lang="en-US" sz="1600" dirty="0"/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BE2220BE-CD5D-4C48-BC09-592335371DC8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10288588" y="5292118"/>
            <a:ext cx="601663" cy="268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8B0F123-D966-4986-88E2-C210ADFFE66B}" type="datetime'''''''J''''a''''''n''''-''''''''''''''''''2''''''''''5'">
              <a:rPr lang="en-US" altLang="en-US" sz="1600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Jan-25</a:t>
            </a:fld>
            <a:endParaRPr lang="en-US" sz="1600" dirty="0"/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F70968CE-7C20-4726-A602-2D20030F54D0}"/>
              </a:ext>
            </a:extLst>
          </p:cNvPr>
          <p:cNvCxnSpPr/>
          <p:nvPr>
            <p:custDataLst>
              <p:tags r:id="rId20"/>
            </p:custDataLst>
          </p:nvPr>
        </p:nvCxnSpPr>
        <p:spPr bwMode="gray">
          <a:xfrm>
            <a:off x="8778875" y="5006368"/>
            <a:ext cx="0" cy="4127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740A2198-C261-42F8-A178-1499AEB2FAD9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6164263" y="1901218"/>
            <a:ext cx="282257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effectLst/>
              </a:rPr>
              <a:t>Number of patients waiting over 12 hours</a:t>
            </a:r>
            <a:endParaRPr lang="en-US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45F54D63-56A2-4376-AEB7-927195227E7B}"/>
              </a:ext>
            </a:extLst>
          </p:cNvPr>
          <p:cNvCxnSpPr/>
          <p:nvPr>
            <p:custDataLst>
              <p:tags r:id="rId22"/>
            </p:custDataLst>
          </p:nvPr>
        </p:nvCxnSpPr>
        <p:spPr bwMode="gray">
          <a:xfrm>
            <a:off x="7308850" y="5742968"/>
            <a:ext cx="185738" cy="0"/>
          </a:xfrm>
          <a:prstGeom prst="line">
            <a:avLst/>
          </a:prstGeom>
          <a:ln w="2857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CAC0978A-C51D-472F-943D-B9B82FA367C6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7559675" y="5644543"/>
            <a:ext cx="29686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7D8143D-D408-482B-B107-A84E9A182B3C}" type="datetime'Number'' of p''eople ''waiti''ng 12'' ho''urs'' or ''m''ore'''">
              <a:rPr lang="en-GB" altLang="en-US" smtClean="0"/>
              <a:pPr/>
              <a:t>Number of people waiting 12 hours or more</a:t>
            </a:fld>
            <a:endParaRPr lang="en-US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6F0E15E5-7781-4861-AA7C-CF366AD64ABE}"/>
              </a:ext>
            </a:extLst>
          </p:cNvPr>
          <p:cNvSpPr txBox="1"/>
          <p:nvPr/>
        </p:nvSpPr>
        <p:spPr>
          <a:xfrm>
            <a:off x="10214742" y="5172430"/>
            <a:ext cx="808038" cy="338554"/>
          </a:xfrm>
          <a:prstGeom prst="rect">
            <a:avLst/>
          </a:prstGeom>
          <a:solidFill>
            <a:srgbClr val="FFFFFF"/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600" dirty="0">
                <a:solidFill>
                  <a:srgbClr val="575757"/>
                </a:solidFill>
              </a:rPr>
              <a:t>Mar-24</a:t>
            </a:r>
          </a:p>
        </p:txBody>
      </p:sp>
    </p:spTree>
    <p:extLst>
      <p:ext uri="{BB962C8B-B14F-4D97-AF65-F5344CB8AC3E}">
        <p14:creationId xmlns:p14="http://schemas.microsoft.com/office/powerpoint/2010/main" val="31081155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FCB179-92E9-47F9-A58D-F4ACF172FF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GB" dirty="0"/>
              <a:t>7.5 MILLION PEOPLE WERE WAITING FOR ELECTIVE CARE BY NOVEMBER 2024</a:t>
            </a:r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10E34981-E39A-438C-B894-177C8484FA53}"/>
              </a:ext>
            </a:extLst>
          </p:cNvPr>
          <p:cNvSpPr/>
          <p:nvPr/>
        </p:nvSpPr>
        <p:spPr>
          <a:xfrm>
            <a:off x="6568856" y="1241304"/>
            <a:ext cx="4881315" cy="585788"/>
          </a:xfrm>
          <a:prstGeom prst="round2SameRect">
            <a:avLst>
              <a:gd name="adj1" fmla="val 31219"/>
              <a:gd name="adj2" fmla="val 0"/>
            </a:avLst>
          </a:prstGeom>
          <a:solidFill>
            <a:schemeClr val="bg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7" name="Rectangle: Top Corners Rounded 6">
            <a:extLst>
              <a:ext uri="{FF2B5EF4-FFF2-40B4-BE49-F238E27FC236}">
                <a16:creationId xmlns:a16="http://schemas.microsoft.com/office/drawing/2014/main" id="{489F2292-6D28-4360-815C-F69E0E4FEAC4}"/>
              </a:ext>
            </a:extLst>
          </p:cNvPr>
          <p:cNvSpPr/>
          <p:nvPr/>
        </p:nvSpPr>
        <p:spPr>
          <a:xfrm>
            <a:off x="873373" y="1241304"/>
            <a:ext cx="4886296" cy="585788"/>
          </a:xfrm>
          <a:prstGeom prst="round2SameRect">
            <a:avLst>
              <a:gd name="adj1" fmla="val 31219"/>
              <a:gd name="adj2" fmla="val 0"/>
            </a:avLst>
          </a:prstGeom>
          <a:solidFill>
            <a:schemeClr val="bg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FF12866A-30B2-4B50-B4E3-3C14735472E7}"/>
              </a:ext>
            </a:extLst>
          </p:cNvPr>
          <p:cNvSpPr/>
          <p:nvPr/>
        </p:nvSpPr>
        <p:spPr>
          <a:xfrm flipV="1">
            <a:off x="741828" y="6020315"/>
            <a:ext cx="5149385" cy="889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9" name="Rectangle: Top Corners Rounded 8">
            <a:extLst>
              <a:ext uri="{FF2B5EF4-FFF2-40B4-BE49-F238E27FC236}">
                <a16:creationId xmlns:a16="http://schemas.microsoft.com/office/drawing/2014/main" id="{DB48D20B-7302-439A-9F5E-2B39B5FB07C4}"/>
              </a:ext>
            </a:extLst>
          </p:cNvPr>
          <p:cNvSpPr/>
          <p:nvPr/>
        </p:nvSpPr>
        <p:spPr>
          <a:xfrm flipV="1">
            <a:off x="6437313" y="6004332"/>
            <a:ext cx="5149385" cy="113907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1" name="ee4pHeader2">
            <a:extLst>
              <a:ext uri="{FF2B5EF4-FFF2-40B4-BE49-F238E27FC236}">
                <a16:creationId xmlns:a16="http://schemas.microsoft.com/office/drawing/2014/main" id="{DB861C00-9CCD-45BC-A2F6-CF4826A5C1E2}"/>
              </a:ext>
            </a:extLst>
          </p:cNvPr>
          <p:cNvSpPr txBox="1"/>
          <p:nvPr/>
        </p:nvSpPr>
        <p:spPr>
          <a:xfrm>
            <a:off x="6666721" y="1288136"/>
            <a:ext cx="4685586" cy="492125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en-US" sz="1600" dirty="0">
                <a:solidFill>
                  <a:srgbClr val="FFFFFF"/>
                </a:solidFill>
              </a:rPr>
              <a:t>The number of long waits significantly increased during the pandemic &amp; remains high</a:t>
            </a:r>
            <a:endParaRPr lang="en-US" sz="1600" baseline="30000" dirty="0">
              <a:solidFill>
                <a:srgbClr val="FFFFFF"/>
              </a:solidFill>
            </a:endParaRPr>
          </a:p>
        </p:txBody>
      </p:sp>
      <p:sp>
        <p:nvSpPr>
          <p:cNvPr id="12" name="ee4pHeader2">
            <a:extLst>
              <a:ext uri="{FF2B5EF4-FFF2-40B4-BE49-F238E27FC236}">
                <a16:creationId xmlns:a16="http://schemas.microsoft.com/office/drawing/2014/main" id="{B1E93EC0-A11E-4FCD-9EF2-9240A6D0A8F3}"/>
              </a:ext>
            </a:extLst>
          </p:cNvPr>
          <p:cNvSpPr txBox="1"/>
          <p:nvPr/>
        </p:nvSpPr>
        <p:spPr>
          <a:xfrm>
            <a:off x="996390" y="1288135"/>
            <a:ext cx="4640262" cy="492125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en-GB" sz="1600" dirty="0">
                <a:solidFill>
                  <a:srgbClr val="FFFFFF"/>
                </a:solidFill>
              </a:rPr>
              <a:t>The 18-week waiting time target has not been met since 2016</a:t>
            </a:r>
            <a:endParaRPr lang="en-US" sz="1600" baseline="30000" dirty="0">
              <a:solidFill>
                <a:srgbClr val="FFFFFF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2F8EF65-8440-4B50-95B2-0CA1F541E9C6}"/>
              </a:ext>
            </a:extLst>
          </p:cNvPr>
          <p:cNvCxnSpPr>
            <a:cxnSpLocks/>
          </p:cNvCxnSpPr>
          <p:nvPr/>
        </p:nvCxnSpPr>
        <p:spPr>
          <a:xfrm flipH="1">
            <a:off x="6138204" y="1910131"/>
            <a:ext cx="0" cy="4098925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ee4pFootnotes">
            <a:extLst>
              <a:ext uri="{FF2B5EF4-FFF2-40B4-BE49-F238E27FC236}">
                <a16:creationId xmlns:a16="http://schemas.microsoft.com/office/drawing/2014/main" id="{10EE02DE-275E-4974-8D24-84C9795182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4099" y="6265822"/>
            <a:ext cx="9030914" cy="1384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Source</a:t>
            </a:r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: </a:t>
            </a:r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  <a:hlinkClick r:id="rId36"/>
              </a:rPr>
              <a:t>NHS Referral to Consultant Wait Times (2024)</a:t>
            </a:r>
            <a:endParaRPr lang="en-US" sz="10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cs typeface="Arial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2502E50-4F6F-4522-8353-5459893EA324}"/>
              </a:ext>
            </a:extLst>
          </p:cNvPr>
          <p:cNvSpPr/>
          <p:nvPr/>
        </p:nvSpPr>
        <p:spPr>
          <a:xfrm>
            <a:off x="2405063" y="2959911"/>
            <a:ext cx="819150" cy="226071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F2437E0-D435-4C4C-9889-857A37F7734E}"/>
              </a:ext>
            </a:extLst>
          </p:cNvPr>
          <p:cNvSpPr/>
          <p:nvPr/>
        </p:nvSpPr>
        <p:spPr>
          <a:xfrm>
            <a:off x="7954963" y="2961588"/>
            <a:ext cx="531813" cy="226071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B1A8E203-D55E-448D-AFA9-42DED2D970E8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6383337"/>
              </p:ext>
            </p:extLst>
          </p:nvPr>
        </p:nvGraphicFramePr>
        <p:xfrm>
          <a:off x="500063" y="2754681"/>
          <a:ext cx="5340350" cy="27511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B271FF6-EB74-4B37-A8ED-ABCFEF0F77E6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 bwMode="gray">
          <a:xfrm flipH="1" flipV="1">
            <a:off x="1019175" y="3088057"/>
            <a:ext cx="20638" cy="10477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8539B5-4649-493E-8283-1C235FF6E473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 bwMode="gray">
          <a:xfrm flipV="1">
            <a:off x="1681163" y="3127744"/>
            <a:ext cx="0" cy="365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551B37FE-F511-43C0-9488-9B2E1497A6A1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gray">
          <a:xfrm flipV="1">
            <a:off x="3794125" y="3727819"/>
            <a:ext cx="0" cy="365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258A6564-73A0-4C50-A4F1-BEF019EFCAA8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 bwMode="gray">
          <a:xfrm flipV="1">
            <a:off x="5699125" y="3804019"/>
            <a:ext cx="25400" cy="13017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AAFD76AF-BF17-49CD-8C35-FE9ACB7F019E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614363" y="2592756"/>
            <a:ext cx="204311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effectLst/>
              </a:rPr>
              <a:t>% waits within 18-week target</a:t>
            </a:r>
            <a:endParaRPr lang="en-US" dirty="0"/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AF0D816A-18E3-4A83-9B89-F7F62865ED22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804863" y="5289919"/>
            <a:ext cx="301625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1FAFCAC-9435-48B2-BE18-3251847E67ED}" type="datetime'''''A''''''''p''''''''''''''''''''r-''18'''''''''''''''">
              <a:rPr lang="en-US" altLang="en-US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Apr-18</a:t>
            </a:fld>
            <a:endParaRPr lang="en-US" dirty="0"/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163CF5CD-A197-4374-A34E-F533615CFCB8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277938" y="5289919"/>
            <a:ext cx="320675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CAEDEBF-838D-411A-9245-A17CFDACB513}" type="datetime'''''''''''''''''''''''De''c''''''''-''''''18'''''">
              <a:rPr lang="en-US" altLang="en-US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Dec-18</a:t>
            </a:fld>
            <a:endParaRPr lang="en-US" dirty="0"/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A22CEF05-4F03-47A0-BB5B-1D985D136CE6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530350" y="5289919"/>
            <a:ext cx="301625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98CF545-45E2-4AB0-AE16-06B69CB5475D}" type="datetime'''''''''''A''''''p''r-''''1''''''''''''9'">
              <a:rPr lang="en-US" altLang="en-US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Apr-19</a:t>
            </a:fld>
            <a:endParaRPr lang="en-US" dirty="0"/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CEF3BC7-EFD0-4B9D-BA81-3F09B4B628FF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2003425" y="5289919"/>
            <a:ext cx="320675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9DF7129-FD30-4ED7-A2F0-4C77755F75E4}" type="datetime'''''D''''''e''''''''''''''''''c''''''''-1''''''''9'''''''''''">
              <a:rPr lang="en-US" altLang="en-US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Dec-19</a:t>
            </a:fld>
            <a:endParaRPr lang="en-US" dirty="0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B9E3D764-B7F3-4421-9BAA-053674AB1EED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2254250" y="5289919"/>
            <a:ext cx="301625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35DFDD4-98DF-4497-904C-FFE34FD84F36}" type="datetime'''''''''''''''''''Ap''''''''r''''''-''''''''2''0'''''''">
              <a:rPr lang="en-US" altLang="en-US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Apr-20</a:t>
            </a:fld>
            <a:endParaRPr lang="en-US" dirty="0"/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6947F019-7215-4E10-BD24-89ACFE01718D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728913" y="5289919"/>
            <a:ext cx="320675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B1FA583-BA80-4A4C-9249-7AD39DC17C09}" type="datetime'''''''''''''''D''''''''''''''''''e''''c''''-2''''''''''0'''">
              <a:rPr lang="en-US" altLang="en-US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Dec-20</a:t>
            </a:fld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3B7C97C-5965-4832-B1ED-0AC178CA819A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979738" y="5289919"/>
            <a:ext cx="301625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2770629-6B60-4A6A-A3DF-F0126EC447B3}" type="datetime'''''''''''''''A''p''''''r''''''''-21'''''''''''''''''''">
              <a:rPr lang="en-US" altLang="en-US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Apr-21</a:t>
            </a:fld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51EBA404-1BCE-4F0B-9744-0E1A1F509A74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3452813" y="5289919"/>
            <a:ext cx="320675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D1FDC2F-F89C-4446-AC7A-27F52E045FA3}" type="datetime'''D''''''''''''''''ec''''''''''''''-''''''''''''''''2''1'''">
              <a:rPr lang="en-US" altLang="en-US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Dec-21</a:t>
            </a:fld>
            <a:endParaRPr lang="en-US" dirty="0"/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05B9E190-6B58-48C8-97EF-38524D80753D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3703638" y="5289919"/>
            <a:ext cx="301625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D11FAD5-DB78-4BCE-A69E-13B8BD966183}" type="datetime'''''''''''''''''''''A''p''r''''-2''''''''''''2'''''''''''">
              <a:rPr lang="en-US" altLang="en-US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Apr-22</a:t>
            </a:fld>
            <a:endParaRPr lang="en-US" dirty="0"/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0606ACC6-E28D-4704-8944-1307660CC065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4178300" y="5289919"/>
            <a:ext cx="320675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1F251AD-3BFC-44D9-86EE-A53DEFF85933}" type="datetime'''''''''''''''''''Dec''''''''''''-''''''2''''''2'''''''''">
              <a:rPr lang="en-US" altLang="en-US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Dec-22</a:t>
            </a:fld>
            <a:endParaRPr lang="en-US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CD8EC526-8623-424E-A112-4CEF8A812BFB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429125" y="5289919"/>
            <a:ext cx="301625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B6041D2-7E06-4BE6-8B6F-0C14E913BDEF}" type="datetime'''''''''''''A''''''''''''''''''p''r''-''2''''''3'''''">
              <a:rPr lang="en-US" altLang="en-US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Apr-23</a:t>
            </a:fld>
            <a:endParaRPr lang="en-US" dirty="0"/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77D0EB0-6498-4FD7-BA89-97F9ECDAF17D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902200" y="5289919"/>
            <a:ext cx="320675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D55811C-C9EF-4B65-946E-11760EAA5DFF}" type="datetime'''''''''''''''De''''''''''''''c-''''''''''''''2''''''3'''''''">
              <a:rPr lang="en-US" altLang="en-US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Dec-23</a:t>
            </a:fld>
            <a:endParaRPr lang="en-US" dirty="0"/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606D6995-84CD-4B76-989E-BEEF2ECE66B7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5154613" y="5289919"/>
            <a:ext cx="301625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091A564-737C-4B7A-A636-A529137AE600}" type="datetime'''''''''''''''A''''''''''''''''''''''p''''''r''-24'">
              <a:rPr lang="en-US" altLang="en-US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Apr-24</a:t>
            </a:fld>
            <a:endParaRPr lang="en-US" dirty="0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2D6630F6-367C-4A64-8BEE-FD9D0E7EA13C}"/>
              </a:ext>
            </a:extLst>
          </p:cNvPr>
          <p:cNvCxnSpPr/>
          <p:nvPr>
            <p:custDataLst>
              <p:tags r:id="rId20"/>
            </p:custDataLst>
          </p:nvPr>
        </p:nvCxnSpPr>
        <p:spPr bwMode="gray">
          <a:xfrm>
            <a:off x="2465388" y="5791569"/>
            <a:ext cx="160338" cy="0"/>
          </a:xfrm>
          <a:prstGeom prst="line">
            <a:avLst/>
          </a:prstGeom>
          <a:ln w="19050" cap="rnd" cmpd="sng" algn="ctr">
            <a:solidFill>
              <a:srgbClr val="EE372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31149B40-E24F-45AE-8F41-324D20DCA592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2686050" y="5709019"/>
            <a:ext cx="13414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05EB8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05EB8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05EB8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05EB8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05EB8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5EB8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5EB8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05EB8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05EB8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05EB8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05EB8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05EB8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C67C71D-8850-45C0-B40A-08993BF860C2}" type="datetime'''%'' ''''''wai''''t''''s u''n''''''der ''''1''8 ''w''''eeks'">
              <a:rPr lang="en-US" altLang="en-US" sz="1000" smtClean="0">
                <a:solidFill>
                  <a:schemeClr val="tx1"/>
                </a:solidFill>
              </a:rPr>
              <a:pPr/>
              <a:t>% waits under 18 weeks</a:t>
            </a:fld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ED94983-C43D-4D5C-AB23-BD0C65BA26D2}"/>
              </a:ext>
            </a:extLst>
          </p:cNvPr>
          <p:cNvSpPr txBox="1"/>
          <p:nvPr/>
        </p:nvSpPr>
        <p:spPr>
          <a:xfrm>
            <a:off x="5573713" y="5284351"/>
            <a:ext cx="354013" cy="30777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000" dirty="0">
                <a:solidFill>
                  <a:srgbClr val="575757"/>
                </a:solidFill>
              </a:rPr>
              <a:t>Nov-</a:t>
            </a:r>
            <a:br>
              <a:rPr lang="en-US" sz="1000" dirty="0">
                <a:solidFill>
                  <a:srgbClr val="575757"/>
                </a:solidFill>
              </a:rPr>
            </a:br>
            <a:r>
              <a:rPr lang="en-US" sz="1000" dirty="0">
                <a:solidFill>
                  <a:srgbClr val="575757"/>
                </a:solidFill>
              </a:rPr>
              <a:t>24</a:t>
            </a:r>
          </a:p>
        </p:txBody>
      </p:sp>
      <p:graphicFrame>
        <p:nvGraphicFramePr>
          <p:cNvPr id="39" name="Chart 38">
            <a:extLst>
              <a:ext uri="{FF2B5EF4-FFF2-40B4-BE49-F238E27FC236}">
                <a16:creationId xmlns:a16="http://schemas.microsoft.com/office/drawing/2014/main" id="{AB99D14B-F40F-489B-9282-39AA71B95862}"/>
              </a:ext>
            </a:extLst>
          </p:cNvPr>
          <p:cNvGraphicFramePr/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505224754"/>
              </p:ext>
            </p:extLst>
          </p:nvPr>
        </p:nvGraphicFramePr>
        <p:xfrm>
          <a:off x="6191250" y="2856281"/>
          <a:ext cx="5373688" cy="26495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8"/>
          </a:graphicData>
        </a:graphic>
      </p:graphicFrame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637E3311-C499-4773-87C7-CFE508835FB6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6392863" y="5275631"/>
            <a:ext cx="4492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09C087C-9FC0-4AE9-B7D9-8DE4C483757B}" type="datetime'''''''''''J''''a''''''''n''''''''''''''-''''''1''''''8'''">
              <a:rPr lang="en-US" altLang="en-US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Jan-18</a:t>
            </a:fld>
            <a:endParaRPr lang="en-US" dirty="0"/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19326DBC-4597-4574-9D19-342F9DADE909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7608888" y="5275631"/>
            <a:ext cx="4492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15803C4-CC37-452E-9A3C-ADF8689332FC}" type="datetime'''''''''''''''''''''''''J''''a''''''''n''''-''''2''''''''''0'">
              <a:rPr lang="en-US" altLang="en-US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Jan-20</a:t>
            </a:fld>
            <a:endParaRPr lang="en-US" dirty="0"/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6320A90D-9FE3-4815-9A91-E04005385279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8826500" y="5275631"/>
            <a:ext cx="4492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1A750D1-F62E-484D-8182-15F7B49C4F15}" type="datetime'J''''''''''''''''''a''''''''''n''''''-''''''2''''''''2'">
              <a:rPr lang="en-US" altLang="en-US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Jan-22</a:t>
            </a:fld>
            <a:endParaRPr lang="en-US" dirty="0"/>
          </a:p>
        </p:txBody>
      </p:sp>
      <p:sp>
        <p:nvSpPr>
          <p:cNvPr id="43" name="Text Placeholder 3">
            <a:extLst>
              <a:ext uri="{FF2B5EF4-FFF2-40B4-BE49-F238E27FC236}">
                <a16:creationId xmlns:a16="http://schemas.microsoft.com/office/drawing/2014/main" id="{2F8BFCA7-1395-4ECC-B624-BBE009378C5D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10040938" y="5275631"/>
            <a:ext cx="4492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C7DCC10-6EC5-4352-B93A-19EAB4078A1E}" type="datetime'''''''Ja''''''''''''n''''''''''-''2''4'''''''''''''''''">
              <a:rPr lang="en-US" altLang="en-US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Jan-24</a:t>
            </a:fld>
            <a:endParaRPr lang="en-US" dirty="0"/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17A23B11-DAE4-4FFB-A6B2-3830FA52F5CD}"/>
              </a:ext>
            </a:extLst>
          </p:cNvPr>
          <p:cNvCxnSpPr/>
          <p:nvPr>
            <p:custDataLst>
              <p:tags r:id="rId27"/>
            </p:custDataLst>
          </p:nvPr>
        </p:nvCxnSpPr>
        <p:spPr bwMode="gray">
          <a:xfrm>
            <a:off x="8239125" y="4505694"/>
            <a:ext cx="0" cy="3492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B153C07D-FA8D-4185-A171-0D2B538507FA}"/>
              </a:ext>
            </a:extLst>
          </p:cNvPr>
          <p:cNvCxnSpPr/>
          <p:nvPr>
            <p:custDataLst>
              <p:tags r:id="rId28"/>
            </p:custDataLst>
          </p:nvPr>
        </p:nvCxnSpPr>
        <p:spPr bwMode="gray">
          <a:xfrm>
            <a:off x="9101138" y="4158031"/>
            <a:ext cx="0" cy="3492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BA76DE96-0A29-45E9-9A61-B4EA2CDF008B}"/>
              </a:ext>
            </a:extLst>
          </p:cNvPr>
          <p:cNvCxnSpPr/>
          <p:nvPr>
            <p:custDataLst>
              <p:tags r:id="rId29"/>
            </p:custDataLst>
          </p:nvPr>
        </p:nvCxnSpPr>
        <p:spPr bwMode="gray">
          <a:xfrm>
            <a:off x="10317163" y="4337419"/>
            <a:ext cx="0" cy="3492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636713A5-F3B0-4C89-B12F-1F1A316B4A73}"/>
              </a:ext>
            </a:extLst>
          </p:cNvPr>
          <p:cNvCxnSpPr/>
          <p:nvPr>
            <p:custDataLst>
              <p:tags r:id="rId30"/>
            </p:custDataLst>
          </p:nvPr>
        </p:nvCxnSpPr>
        <p:spPr bwMode="gray">
          <a:xfrm>
            <a:off x="10721975" y="4527919"/>
            <a:ext cx="0" cy="3492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57044368-5E52-44B6-99AA-712C20C51A66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6305550" y="2694356"/>
            <a:ext cx="224631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effectLst/>
              </a:rPr>
              <a:t>% of those waiting over 52 weeks</a:t>
            </a:r>
            <a:endParaRPr lang="en-US" dirty="0"/>
          </a:p>
        </p:txBody>
      </p:sp>
      <p:sp useBgFill="1">
        <p:nvSpPr>
          <p:cNvPr id="49" name="Text Placeholder 3">
            <a:extLst>
              <a:ext uri="{FF2B5EF4-FFF2-40B4-BE49-F238E27FC236}">
                <a16:creationId xmlns:a16="http://schemas.microsoft.com/office/drawing/2014/main" id="{24EFEB0E-ABB0-439C-BE28-FDC66827F9EF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8180388" y="4304081"/>
            <a:ext cx="117475" cy="201613"/>
          </a:xfrm>
          <a:prstGeom prst="rect">
            <a:avLst/>
          </a:prstGeom>
          <a:ln>
            <a:noFill/>
          </a:ln>
          <a:effectLst/>
        </p:spPr>
        <p:txBody>
          <a:bodyPr vert="horz" wrap="none" lIns="19050" tIns="0" rIns="1905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20EC84C-4B43-4479-9493-37351E2CB31B}" type="datetime'''3'''''''''''''''''''''''''''''''''">
              <a:rPr lang="en-US" altLang="en-US" smtClean="0">
                <a:solidFill>
                  <a:srgbClr val="E71C57"/>
                </a:solidFill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en-US" dirty="0">
              <a:solidFill>
                <a:srgbClr val="E71C57"/>
              </a:solidFill>
            </a:endParaRP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B255FC4F-F338-4766-9607-37FF21E0DAA3}"/>
              </a:ext>
            </a:extLst>
          </p:cNvPr>
          <p:cNvCxnSpPr/>
          <p:nvPr>
            <p:custDataLst>
              <p:tags r:id="rId33"/>
            </p:custDataLst>
          </p:nvPr>
        </p:nvCxnSpPr>
        <p:spPr bwMode="gray">
          <a:xfrm>
            <a:off x="8404225" y="5791569"/>
            <a:ext cx="160338" cy="0"/>
          </a:xfrm>
          <a:prstGeom prst="line">
            <a:avLst/>
          </a:prstGeom>
          <a:ln w="19050" cap="rnd" cmpd="sng" algn="ctr">
            <a:solidFill>
              <a:srgbClr val="EE372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1" name="Text Placeholder 3">
            <a:extLst>
              <a:ext uri="{FF2B5EF4-FFF2-40B4-BE49-F238E27FC236}">
                <a16:creationId xmlns:a16="http://schemas.microsoft.com/office/drawing/2014/main" id="{5CD47354-611B-4828-92E1-0513D7766E2C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8624888" y="5709019"/>
            <a:ext cx="12604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05EB8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05EB8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05EB8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05EB8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05EB8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5EB8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5EB8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05EB8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05EB8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05EB8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05EB8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05EB8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CAB96C6-D3F4-40F3-8489-C5E033CB2FA2}" type="datetime'% w''''a''''its ''''o''v''''er 52'''''''''''' wee''k''''''''s'">
              <a:rPr lang="en-US" altLang="en-US" sz="1000" smtClean="0">
                <a:solidFill>
                  <a:schemeClr val="tx1"/>
                </a:solidFill>
              </a:rPr>
              <a:pPr/>
              <a:t>% waits over 52 weeks</a:t>
            </a:fld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ABDF947A-E805-4FF0-97B0-84C11BA3CD63}"/>
              </a:ext>
            </a:extLst>
          </p:cNvPr>
          <p:cNvSpPr txBox="1"/>
          <p:nvPr/>
        </p:nvSpPr>
        <p:spPr>
          <a:xfrm>
            <a:off x="608201" y="1925743"/>
            <a:ext cx="5575948" cy="49244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GB" sz="1300" dirty="0">
                <a:solidFill>
                  <a:srgbClr val="575757"/>
                </a:solidFill>
              </a:rPr>
              <a:t>Only 59% of patients waited under 18 weeks for elective care in November 2024, falling short of the 92% target</a:t>
            </a:r>
            <a:endParaRPr lang="en-US" sz="1300" dirty="0">
              <a:solidFill>
                <a:srgbClr val="575757"/>
              </a:solidFill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425D7DC5-FE50-44DB-B3F0-949A3901B496}"/>
              </a:ext>
            </a:extLst>
          </p:cNvPr>
          <p:cNvSpPr txBox="1"/>
          <p:nvPr/>
        </p:nvSpPr>
        <p:spPr>
          <a:xfrm>
            <a:off x="10487954" y="5283059"/>
            <a:ext cx="731859" cy="1538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000" dirty="0">
                <a:solidFill>
                  <a:srgbClr val="575757"/>
                </a:solidFill>
              </a:rPr>
              <a:t>Nov-24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3CD8326-AD93-4FF5-8DD1-54AB9B0737A4}"/>
              </a:ext>
            </a:extLst>
          </p:cNvPr>
          <p:cNvSpPr txBox="1"/>
          <p:nvPr/>
        </p:nvSpPr>
        <p:spPr>
          <a:xfrm>
            <a:off x="6361645" y="1925743"/>
            <a:ext cx="5217664" cy="69249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GB" sz="1300" dirty="0">
                <a:solidFill>
                  <a:srgbClr val="575757"/>
                </a:solidFill>
              </a:rPr>
              <a:t>As of November 2024, 221,899 people were waiting over 52 weeks between referral and treatment, ~3% of the total elective care wait list</a:t>
            </a:r>
            <a:endParaRPr lang="en-US" sz="1300" dirty="0">
              <a:solidFill>
                <a:srgbClr val="575757"/>
              </a:solidFill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C4D213CA-CEDD-481E-89E8-3C072F644A66}"/>
              </a:ext>
            </a:extLst>
          </p:cNvPr>
          <p:cNvSpPr txBox="1"/>
          <p:nvPr/>
        </p:nvSpPr>
        <p:spPr>
          <a:xfrm>
            <a:off x="2437607" y="2941086"/>
            <a:ext cx="731838" cy="26161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r>
              <a:rPr lang="en-GB" sz="1050" dirty="0">
                <a:solidFill>
                  <a:schemeClr val="tx1"/>
                </a:solidFill>
              </a:rPr>
              <a:t>Covid-19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1A047F25-9858-48C3-A542-0D5F235D8495}"/>
              </a:ext>
            </a:extLst>
          </p:cNvPr>
          <p:cNvSpPr txBox="1"/>
          <p:nvPr/>
        </p:nvSpPr>
        <p:spPr>
          <a:xfrm>
            <a:off x="7877381" y="2913025"/>
            <a:ext cx="731290" cy="26161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r>
              <a:rPr lang="en-GB" sz="1050" dirty="0">
                <a:solidFill>
                  <a:schemeClr val="tx1"/>
                </a:solidFill>
              </a:rPr>
              <a:t>Covid-19</a:t>
            </a:r>
            <a:endParaRPr lang="en-US" sz="105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81463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9D56EE-4C22-43B5-9AC8-A54BD4A948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GB" dirty="0"/>
              <a:t>PATIENTS ARE FACING DIFFICULTIES IN ACCESSING CARE, WITH INCREASING GP WAIT TIMES</a:t>
            </a:r>
          </a:p>
        </p:txBody>
      </p:sp>
      <p:sp>
        <p:nvSpPr>
          <p:cNvPr id="5" name="Rectangle: Top Corners Rounded 4">
            <a:extLst>
              <a:ext uri="{FF2B5EF4-FFF2-40B4-BE49-F238E27FC236}">
                <a16:creationId xmlns:a16="http://schemas.microsoft.com/office/drawing/2014/main" id="{BB52F91B-B79E-42CC-812E-7A0BA562C885}"/>
              </a:ext>
            </a:extLst>
          </p:cNvPr>
          <p:cNvSpPr/>
          <p:nvPr/>
        </p:nvSpPr>
        <p:spPr>
          <a:xfrm>
            <a:off x="993385" y="1268124"/>
            <a:ext cx="10397265" cy="585788"/>
          </a:xfrm>
          <a:prstGeom prst="round2SameRect">
            <a:avLst>
              <a:gd name="adj1" fmla="val 31219"/>
              <a:gd name="adj2" fmla="val 0"/>
            </a:avLst>
          </a:prstGeom>
          <a:solidFill>
            <a:schemeClr val="tx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chemeClr val="accent1"/>
              </a:solidFill>
            </a:endParaRPr>
          </a:p>
        </p:txBody>
      </p:sp>
      <p:sp>
        <p:nvSpPr>
          <p:cNvPr id="6" name="ee4pHeader2">
            <a:extLst>
              <a:ext uri="{FF2B5EF4-FFF2-40B4-BE49-F238E27FC236}">
                <a16:creationId xmlns:a16="http://schemas.microsoft.com/office/drawing/2014/main" id="{34E54D2B-4661-482E-BC4B-1DFCCF59ED5C}"/>
              </a:ext>
            </a:extLst>
          </p:cNvPr>
          <p:cNvSpPr txBox="1"/>
          <p:nvPr/>
        </p:nvSpPr>
        <p:spPr>
          <a:xfrm>
            <a:off x="1040643" y="1314956"/>
            <a:ext cx="10236957" cy="492125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en-US" sz="1500" dirty="0">
                <a:solidFill>
                  <a:schemeClr val="accent1"/>
                </a:solidFill>
              </a:rPr>
              <a:t>In 2024, 43% of all GP appointments took place on the same day as booking, 2% fewer since 2018</a:t>
            </a:r>
            <a:endParaRPr lang="en-US" sz="1500" baseline="30000" dirty="0">
              <a:solidFill>
                <a:schemeClr val="accent1"/>
              </a:solidFill>
            </a:endParaRPr>
          </a:p>
          <a:p>
            <a:pPr algn="ctr"/>
            <a:r>
              <a:rPr lang="en-US" sz="1500" dirty="0">
                <a:solidFill>
                  <a:schemeClr val="accent1"/>
                </a:solidFill>
              </a:rPr>
              <a:t>In this 7-year period, there was also a 2% increase in the proportion of those waiting 8-28+ days to see a GP</a:t>
            </a:r>
          </a:p>
        </p:txBody>
      </p:sp>
      <p:sp>
        <p:nvSpPr>
          <p:cNvPr id="9" name="ee4pFootnotes">
            <a:extLst>
              <a:ext uri="{FF2B5EF4-FFF2-40B4-BE49-F238E27FC236}">
                <a16:creationId xmlns:a16="http://schemas.microsoft.com/office/drawing/2014/main" id="{A1DF665F-E775-473C-8DB4-4D938E8BBE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5891" y="6256890"/>
            <a:ext cx="9030914" cy="1384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Source: </a:t>
            </a:r>
            <a:r>
              <a:rPr lang="en-GB" sz="1000" dirty="0">
                <a:solidFill>
                  <a:schemeClr val="bg1">
                    <a:lumMod val="50000"/>
                  </a:schemeClr>
                </a:solidFill>
                <a:cs typeface="Arial" pitchFamily="34" charset="0"/>
                <a:hlinkClick r:id="rId25"/>
              </a:rPr>
              <a:t>NHS Appointments in GP (2024) </a:t>
            </a:r>
            <a:endParaRPr lang="en-US" sz="1000" dirty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6260C433-A22E-458D-849D-8D8CD1CBF441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1204418"/>
              </p:ext>
            </p:extLst>
          </p:nvPr>
        </p:nvGraphicFramePr>
        <p:xfrm>
          <a:off x="1201738" y="2086842"/>
          <a:ext cx="9791700" cy="3813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14D54BF0-237C-4C63-BBF5-44C812EA4AF8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gray">
          <a:xfrm>
            <a:off x="1103313" y="5447580"/>
            <a:ext cx="7937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6BA920B7-F6A6-4EDD-B1A4-6EE19EE41C53}" type="datetime'''''''''''''''''''''''''''''''0'''''''''''''''''''''''''''''">
              <a:rPr lang="en-US" altLang="en-US" smtClean="0">
                <a:effectLst/>
              </a:rPr>
              <a:pPr lvl="0" algn="r"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en-US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717C407-5935-4FC5-8A11-B8A06873590C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1023938" y="4823692"/>
            <a:ext cx="1587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D6E66298-2842-4A80-80A8-F6973163E463}" type="datetime'''''''''''''''''''2''''''''''''''''''''''''0'''''''''''''''''">
              <a:rPr lang="en-US" altLang="en-US" smtClean="0">
                <a:effectLst/>
              </a:rPr>
              <a:pPr lvl="0" algn="r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lang="en-US" dirty="0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3C403C88-FBD1-4DAF-80A7-C0747F898F5D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023938" y="4199805"/>
            <a:ext cx="1587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D42B3E75-7F44-4F69-AB0A-8ECB000B266B}" type="datetime'''''''4''''''''''''''''''0'''''''''''''">
              <a:rPr lang="en-US" altLang="en-US" smtClean="0">
                <a:effectLst/>
              </a:rPr>
              <a:pPr lvl="0" algn="r">
                <a:spcBef>
                  <a:spcPct val="0"/>
                </a:spcBef>
                <a:spcAft>
                  <a:spcPct val="0"/>
                </a:spcAft>
              </a:pPr>
              <a:t>40</a:t>
            </a:fld>
            <a:endParaRPr lang="en-US" dirty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07C382D-EF5F-4B83-93DF-517BEC3C449D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023938" y="3577505"/>
            <a:ext cx="1587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34E01313-E917-489A-8DEE-750433A00BB3}" type="datetime'6''''''''0'''''''''''''''''''''''''''''''''''''''''''''''">
              <a:rPr lang="en-US" altLang="en-US" smtClean="0">
                <a:effectLst/>
              </a:rPr>
              <a:pPr lvl="0" algn="r">
                <a:spcBef>
                  <a:spcPct val="0"/>
                </a:spcBef>
                <a:spcAft>
                  <a:spcPct val="0"/>
                </a:spcAft>
              </a:pPr>
              <a:t>60</a:t>
            </a:fld>
            <a:endParaRPr lang="en-US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CC5E323D-E064-473D-9AA5-F9E2DC6D5A27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023938" y="2953617"/>
            <a:ext cx="1587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999CDD05-65F0-4BAF-8B41-FC9E95501898}" type="datetime'8''''''''''''''''''''''''''''''''''''''''''''''''''''0'''''''">
              <a:rPr lang="en-US" altLang="en-US" smtClean="0">
                <a:effectLst/>
              </a:rPr>
              <a:pPr lvl="0" algn="r">
                <a:spcBef>
                  <a:spcPct val="0"/>
                </a:spcBef>
                <a:spcAft>
                  <a:spcPct val="0"/>
                </a:spcAft>
              </a:pPr>
              <a:t>80</a:t>
            </a:fld>
            <a:endParaRPr lang="en-US" dirty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B360809C-35F2-4AA5-B4AD-A5F5237988CD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944563" y="2329730"/>
            <a:ext cx="2381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C32A4BD7-7DE9-4307-A300-8B3DEEBF43BF}" type="datetime'1''''''''''''''''''''''''''''''''''0''0'''''">
              <a:rPr lang="en-US" altLang="en-US" smtClean="0">
                <a:effectLst/>
              </a:rPr>
              <a:pPr lvl="0" algn="r">
                <a:spcBef>
                  <a:spcPct val="0"/>
                </a:spcBef>
                <a:spcAft>
                  <a:spcPct val="0"/>
                </a:spcAft>
              </a:pPr>
              <a:t>100</a:t>
            </a:fld>
            <a:endParaRPr lang="en-US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DF2D9C2-69D1-4AEB-AE4F-1C65F5BF2C98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 bwMode="gray">
          <a:xfrm flipH="1" flipV="1">
            <a:off x="10045700" y="2907580"/>
            <a:ext cx="98425" cy="2159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75E8EBD2-6211-4ADF-A052-7B3A6194DC77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 flipH="1" flipV="1">
            <a:off x="10045700" y="2710729"/>
            <a:ext cx="98425" cy="1270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A2C91BB5-D141-4B06-AAB8-AF3460657C24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2798763" y="2383705"/>
            <a:ext cx="279400" cy="268288"/>
          </a:xfrm>
          <a:prstGeom prst="rect">
            <a:avLst/>
          </a:prstGeom>
          <a:solidFill>
            <a:srgbClr val="EE3724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CC76631-1F2F-4888-B7BE-4DB5FAC4632F}" type="datetime'''''''''''''''''''''''''''''''''''4%'''">
              <a:rPr lang="en-US" altLang="en-US" sz="1600" smtClean="0">
                <a:solidFill>
                  <a:schemeClr val="bg1"/>
                </a:solidFill>
                <a:effectLst/>
              </a:rPr>
              <a:pPr/>
              <a:t>4%</a:t>
            </a:fld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E5779046-6E3B-4552-A184-46AFF63AFC7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302125" y="2520230"/>
            <a:ext cx="279400" cy="268288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EFE585B-6F6A-42E5-8187-0DA2912D13A3}" type="datetime'''''''''''''5%'''''">
              <a:rPr lang="en-US" altLang="en-US" sz="1600" smtClean="0">
                <a:solidFill>
                  <a:schemeClr val="bg1"/>
                </a:solidFill>
                <a:effectLst/>
              </a:rPr>
              <a:pPr/>
              <a:t>5%</a:t>
            </a:fld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9EB65674-7441-4337-AAC4-11294F1A49EC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3470275" y="5620617"/>
            <a:ext cx="438150" cy="268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2CE7E48-59EC-44B7-93A3-04913C34EC3E}" type="datetime'''''''''2''''''''''''''0''''''''''''''''1''''''''8'''''''">
              <a:rPr lang="en-US" altLang="en-US" sz="1600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18</a:t>
            </a:fld>
            <a:endParaRPr lang="en-US" sz="1600" dirty="0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23EC462E-A7D6-4FE5-B439-0C2669E47FF4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7612063" y="2410692"/>
            <a:ext cx="279400" cy="268288"/>
          </a:xfrm>
          <a:prstGeom prst="rect">
            <a:avLst/>
          </a:prstGeom>
          <a:solidFill>
            <a:srgbClr val="EE3724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E556F8E-9A53-4C73-A2C4-969C39EDDC69}" type="datetime'''''''''''''''''''''''''''''''''''''6''''''''''''''''%'">
              <a:rPr lang="en-US" altLang="en-US" sz="1600" smtClean="0">
                <a:solidFill>
                  <a:schemeClr val="bg1"/>
                </a:solidFill>
                <a:effectLst/>
              </a:rPr>
              <a:pPr/>
              <a:t>6%</a:t>
            </a:fld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3F6433F4-61D5-4D7C-B254-638FE5A26720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9115425" y="2577380"/>
            <a:ext cx="279400" cy="268288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FAC43BA-F64E-4EBE-AA9A-4D94B31F24A0}" type="datetime'''''''''''''5''''''''%'''''''''''''''''''''''''''''''''''''''">
              <a:rPr lang="en-US" altLang="en-US" sz="1600" smtClean="0">
                <a:solidFill>
                  <a:schemeClr val="bg1"/>
                </a:solidFill>
                <a:effectLst/>
              </a:rPr>
              <a:pPr/>
              <a:t>5%</a:t>
            </a:fld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2B9FB4E2-9286-43CB-8CEE-ECFE5DF07654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8283575" y="5620617"/>
            <a:ext cx="438150" cy="268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7D8B6D8-C79F-4799-98C8-F2246DB4A2CD}" type="datetime'''''''''''2''''''02''''4'''''''''''''''''''''">
              <a:rPr lang="en-US" altLang="en-US" sz="1600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4</a:t>
            </a:fld>
            <a:endParaRPr lang="en-US" sz="1600" dirty="0"/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3C747D74-0272-4C0D-A1A2-E7049A396629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10169525" y="2434504"/>
            <a:ext cx="1019175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C4C6C7A-7918-40CB-A544-4E0016EEBEB5}" type="datetime'''''''''''Ov''e''''''r'' ''2''8'''''' d''''''''a''y''''''''s'">
              <a:rPr lang="en-US" altLang="en-US" sz="1400" smtClean="0"/>
              <a:pPr/>
              <a:t>Over 28 days</a:t>
            </a:fld>
            <a:endParaRPr lang="en-US" sz="1400" dirty="0"/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F8DCF7CD-3FA9-4F56-B1E6-39CB6994AD1E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10169525" y="2720254"/>
            <a:ext cx="84455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CE4FCF0-132A-443C-94B6-E54F557F6155}" type="datetime'22''''''-''''2''8'''''''''' d''a''''''''''''''''''''y''s'''''">
              <a:rPr lang="en-US" altLang="en-US" sz="1400" smtClean="0"/>
              <a:pPr/>
              <a:t>22-28 days</a:t>
            </a:fld>
            <a:endParaRPr lang="en-US" sz="1400" dirty="0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88E9394E-AE5B-4F39-8037-3212729B455B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10169525" y="3006004"/>
            <a:ext cx="84455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57B881E0-E845-4263-BFD3-C0AF5F1E114D}" type="datetime'''1''''''''''''5-''''2''''1 ''''''da''y''s'''''''''''''''''''">
              <a:rPr lang="en-US" altLang="en-US" sz="1400" smtClean="0"/>
              <a:pPr/>
              <a:t>15-21 days</a:t>
            </a:fld>
            <a:endParaRPr lang="en-US" sz="1400" dirty="0"/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3BCF6063-C403-4D43-8072-C24FDD23A57E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10169525" y="3291754"/>
            <a:ext cx="75088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92FF633-8CAC-40E6-AA7D-E451CAD3E718}" type="datetime'''8''''-''''''''1''''''''''4'''''''' ''''d''''''''''ay''s'''">
              <a:rPr lang="en-US" altLang="en-US" sz="1400" smtClean="0"/>
              <a:pPr/>
              <a:t>8-14 days</a:t>
            </a:fld>
            <a:endParaRPr lang="en-US" sz="1400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C16B5D2-9C6E-4EB8-A68D-ED5443CBC3B1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10169525" y="3593379"/>
            <a:ext cx="657225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0A3D59F-9F4F-4CB2-BD5B-7F87BAF54C69}" type="datetime'2''''''''-''''''''7'''''''''''' d''a''y''''s'''''">
              <a:rPr lang="en-US" altLang="en-US" sz="1400" smtClean="0"/>
              <a:pPr/>
              <a:t>2-7 days</a:t>
            </a:fld>
            <a:endParaRPr lang="en-US" sz="1400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5E9A9198-3504-475F-92FC-31F71F4CEF4A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10169525" y="3990254"/>
            <a:ext cx="42703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00D51A2-000E-4E7E-BE0E-9E1EBE25C67C}" type="datetime'1'''''''''''''''' ''''d''''''''''''''''''''''''''''''ay'''''">
              <a:rPr lang="en-US" altLang="en-US" sz="1400" smtClean="0"/>
              <a:pPr/>
              <a:t>1 day</a:t>
            </a:fld>
            <a:endParaRPr lang="en-US" sz="1400" dirty="0"/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56E24AE1-E459-46CC-BE55-6D5515481F82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10169525" y="4771304"/>
            <a:ext cx="75723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62A0731-DA0D-4215-A936-E0A1160B7B58}" type="datetime'''''''''''''S''''''am''''e'''''' ''d''''a''''''''y'''''''''">
              <a:rPr lang="en-US" altLang="en-US" sz="1400" smtClean="0"/>
              <a:pPr/>
              <a:t>Same day</a:t>
            </a:fld>
            <a:endParaRPr lang="en-US" sz="1400" dirty="0"/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E8D0FD10-CE3D-4D53-96C8-49E963AF6382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944563" y="1966193"/>
            <a:ext cx="460851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dirty="0"/>
              <a:t>Waiting times as a proportion (</a:t>
            </a:r>
            <a:r>
              <a:rPr lang="en-US" altLang="en-US" dirty="0">
                <a:effectLst/>
              </a:rPr>
              <a:t>%) of all GP appointments in Englan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95489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06324E-6AA2-4859-889A-2FC578591E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SIX GLOBAL CHALLENGES</a:t>
            </a:r>
            <a:endParaRPr lang="en-GB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2F1589A3-19A3-4293-B3B3-3046B7D4D7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33265" y="1489038"/>
            <a:ext cx="9620533" cy="500019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457200" indent="-457200">
              <a:buAutoNum type="arabicPeriod"/>
            </a:pPr>
            <a:r>
              <a:rPr lang="en-US" dirty="0">
                <a:latin typeface="Segoe UI"/>
                <a:cs typeface="Segoe UI"/>
              </a:rPr>
              <a:t>Rising disease burden</a:t>
            </a:r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7386138A-234F-4201-97EB-53A57260E107}"/>
              </a:ext>
            </a:extLst>
          </p:cNvPr>
          <p:cNvSpPr txBox="1">
            <a:spLocks/>
          </p:cNvSpPr>
          <p:nvPr/>
        </p:nvSpPr>
        <p:spPr>
          <a:xfrm>
            <a:off x="1733265" y="1989057"/>
            <a:ext cx="9620533" cy="50001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24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Courier New" panose="02070309020205020404" pitchFamily="49" charset="0"/>
              <a:buChar char="o"/>
              <a:defRPr lang="en-US" sz="2100" kern="1200" baseline="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Segoe UI" panose="020B0502040204020203" pitchFamily="34" charset="0"/>
              <a:buChar char="+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Segoe UI" panose="020B0502040204020203" pitchFamily="34" charset="0"/>
              <a:buChar char="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Segoe UI" panose="020B0502040204020203" pitchFamily="34" charset="0"/>
              <a:buChar char="»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Font typeface="+mj-lt"/>
              <a:buAutoNum type="arabicPeriod" startAt="2"/>
            </a:pPr>
            <a:r>
              <a:rPr lang="en-GB" dirty="0">
                <a:latin typeface="Segoe UI"/>
                <a:cs typeface="Segoe UI"/>
              </a:rPr>
              <a:t>Rapid technological advancement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8215EFE-3B85-4B94-BD39-E03F9818EEAE}"/>
              </a:ext>
            </a:extLst>
          </p:cNvPr>
          <p:cNvSpPr txBox="1">
            <a:spLocks/>
          </p:cNvSpPr>
          <p:nvPr/>
        </p:nvSpPr>
        <p:spPr>
          <a:xfrm>
            <a:off x="1733265" y="2489076"/>
            <a:ext cx="9620533" cy="50001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24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Courier New" panose="02070309020205020404" pitchFamily="49" charset="0"/>
              <a:buChar char="o"/>
              <a:defRPr lang="en-US" sz="2100" kern="1200" baseline="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Segoe UI" panose="020B0502040204020203" pitchFamily="34" charset="0"/>
              <a:buChar char="+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Segoe UI" panose="020B0502040204020203" pitchFamily="34" charset="0"/>
              <a:buChar char="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Segoe UI" panose="020B0502040204020203" pitchFamily="34" charset="0"/>
              <a:buChar char="»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Font typeface="+mj-lt"/>
              <a:buAutoNum type="arabicPeriod" startAt="3"/>
            </a:pPr>
            <a:r>
              <a:rPr lang="en-GB" dirty="0">
                <a:latin typeface="Segoe UI"/>
                <a:cs typeface="Segoe UI"/>
              </a:rPr>
              <a:t>Growing patient expectations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95AC803-9BA8-46A1-A3FD-024B073A661F}"/>
              </a:ext>
            </a:extLst>
          </p:cNvPr>
          <p:cNvSpPr txBox="1">
            <a:spLocks/>
          </p:cNvSpPr>
          <p:nvPr/>
        </p:nvSpPr>
        <p:spPr>
          <a:xfrm>
            <a:off x="1733265" y="2955306"/>
            <a:ext cx="9620533" cy="50001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24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Courier New" panose="02070309020205020404" pitchFamily="49" charset="0"/>
              <a:buChar char="o"/>
              <a:defRPr lang="en-US" sz="2100" kern="1200" baseline="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Segoe UI" panose="020B0502040204020203" pitchFamily="34" charset="0"/>
              <a:buChar char="+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Segoe UI" panose="020B0502040204020203" pitchFamily="34" charset="0"/>
              <a:buChar char="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Segoe UI" panose="020B0502040204020203" pitchFamily="34" charset="0"/>
              <a:buChar char="»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Font typeface="+mj-lt"/>
              <a:buAutoNum type="arabicPeriod" startAt="4"/>
            </a:pPr>
            <a:r>
              <a:rPr lang="en-GB" dirty="0">
                <a:latin typeface="Segoe UI"/>
                <a:cs typeface="Segoe UI"/>
              </a:rPr>
              <a:t>Workforce shortages</a:t>
            </a:r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34F913B-D76E-460C-9C85-C55CEBC5CFBD}"/>
              </a:ext>
            </a:extLst>
          </p:cNvPr>
          <p:cNvSpPr txBox="1">
            <a:spLocks/>
          </p:cNvSpPr>
          <p:nvPr/>
        </p:nvSpPr>
        <p:spPr>
          <a:xfrm>
            <a:off x="1733265" y="3438044"/>
            <a:ext cx="9620533" cy="50001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24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Courier New" panose="02070309020205020404" pitchFamily="49" charset="0"/>
              <a:buChar char="o"/>
              <a:defRPr lang="en-US" sz="2100" kern="1200" baseline="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Segoe UI" panose="020B0502040204020203" pitchFamily="34" charset="0"/>
              <a:buChar char="+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Segoe UI" panose="020B0502040204020203" pitchFamily="34" charset="0"/>
              <a:buChar char="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Segoe UI" panose="020B0502040204020203" pitchFamily="34" charset="0"/>
              <a:buChar char="»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Font typeface="+mj-lt"/>
              <a:buAutoNum type="arabicPeriod" startAt="5"/>
            </a:pPr>
            <a:r>
              <a:rPr lang="en-GB" dirty="0">
                <a:latin typeface="Segoe UI"/>
                <a:cs typeface="Segoe UI"/>
              </a:rPr>
              <a:t>Post-COVID recovery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3E149EF0-A736-4EFA-A850-FF4C69C5316D}"/>
              </a:ext>
            </a:extLst>
          </p:cNvPr>
          <p:cNvSpPr txBox="1">
            <a:spLocks/>
          </p:cNvSpPr>
          <p:nvPr/>
        </p:nvSpPr>
        <p:spPr>
          <a:xfrm>
            <a:off x="1733265" y="3938063"/>
            <a:ext cx="9620533" cy="50001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24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Courier New" panose="02070309020205020404" pitchFamily="49" charset="0"/>
              <a:buChar char="o"/>
              <a:defRPr lang="en-US" sz="2100" kern="1200" baseline="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Segoe UI" panose="020B0502040204020203" pitchFamily="34" charset="0"/>
              <a:buChar char="+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Segoe UI" panose="020B0502040204020203" pitchFamily="34" charset="0"/>
              <a:buChar char="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Segoe UI" panose="020B0502040204020203" pitchFamily="34" charset="0"/>
              <a:buChar char="»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Font typeface="+mj-lt"/>
              <a:buAutoNum type="arabicPeriod" startAt="6"/>
            </a:pPr>
            <a:r>
              <a:rPr lang="en-GB" dirty="0">
                <a:latin typeface="Segoe UI"/>
                <a:cs typeface="Segoe UI"/>
              </a:rPr>
              <a:t>Financial sustainability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397641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P spid="5" grpId="0"/>
      <p:bldP spid="6" grpId="0"/>
      <p:bldP spid="7" grpId="0"/>
      <p:bldP spid="8" grpId="0"/>
      <p:bldP spid="9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6A7AFD-A5F0-42B2-81F5-9292A1941D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"SERIOUS TROUBLE" - THE DIAGNOSIS</a:t>
            </a:r>
            <a:endParaRPr lang="en-GB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BAFDA0A-5202-4CF9-B39C-40BB3CFDF7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37623" y="1215660"/>
            <a:ext cx="9616177" cy="1430115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457200" indent="-457200">
              <a:buAutoNum type="arabicPeriod"/>
            </a:pPr>
            <a:r>
              <a:rPr lang="en-US" dirty="0">
                <a:solidFill>
                  <a:srgbClr val="3E3E3F"/>
                </a:solidFill>
                <a:latin typeface="Segoe UI"/>
                <a:cs typeface="Segoe UI"/>
              </a:rPr>
              <a:t>The Impact of the Lansley Reforms</a:t>
            </a:r>
            <a:endParaRPr lang="en-US" dirty="0"/>
          </a:p>
          <a:p>
            <a:pPr marL="457200" indent="-457200">
              <a:buAutoNum type="arabicPeriod"/>
            </a:pPr>
            <a:r>
              <a:rPr lang="en-US" dirty="0">
                <a:latin typeface="Segoe UI"/>
                <a:cs typeface="Segoe UI"/>
              </a:rPr>
              <a:t>Lack of capital investment</a:t>
            </a:r>
            <a:endParaRPr lang="en-US" dirty="0"/>
          </a:p>
          <a:p>
            <a:pPr marL="457200" indent="-457200">
              <a:buAutoNum type="arabicPeriod"/>
            </a:pPr>
            <a:r>
              <a:rPr lang="en-US" dirty="0">
                <a:solidFill>
                  <a:srgbClr val="3E3E3F"/>
                </a:solidFill>
                <a:latin typeface="Segoe UI"/>
                <a:cs typeface="Segoe UI"/>
              </a:rPr>
              <a:t>COVID-19 and its aftermath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908E599-9470-4F99-997E-40480594357C}"/>
              </a:ext>
            </a:extLst>
          </p:cNvPr>
          <p:cNvSpPr txBox="1"/>
          <p:nvPr/>
        </p:nvSpPr>
        <p:spPr>
          <a:xfrm>
            <a:off x="1733267" y="3222309"/>
            <a:ext cx="9616176" cy="5821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2800" b="1" dirty="0">
                <a:latin typeface="Arial"/>
                <a:ea typeface="+mj-ea"/>
                <a:cs typeface="Arial"/>
              </a:rPr>
              <a:t>THE THREE SHIFTS – THE TREATMENTS  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F9E8B36-9627-4A35-8210-00CAE0667EB8}"/>
              </a:ext>
            </a:extLst>
          </p:cNvPr>
          <p:cNvSpPr txBox="1"/>
          <p:nvPr/>
        </p:nvSpPr>
        <p:spPr>
          <a:xfrm>
            <a:off x="1733266" y="3910224"/>
            <a:ext cx="9616176" cy="134601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marL="457200" indent="-457200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AutoNum type="arabicPeriod"/>
            </a:pPr>
            <a:r>
              <a:rPr lang="en-US" sz="2400" dirty="0">
                <a:solidFill>
                  <a:srgbClr val="3E3E3F"/>
                </a:solidFill>
                <a:latin typeface="Segoe UI"/>
                <a:cs typeface="Segoe UI"/>
              </a:rPr>
              <a:t>Sickness to prevention</a:t>
            </a:r>
          </a:p>
          <a:p>
            <a:pPr marL="457200" indent="-457200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AutoNum type="arabicPeriod"/>
            </a:pPr>
            <a:r>
              <a:rPr lang="en-US" sz="2400" dirty="0">
                <a:solidFill>
                  <a:srgbClr val="3E3E3F"/>
                </a:solidFill>
                <a:latin typeface="Segoe UI"/>
                <a:cs typeface="Segoe UI"/>
              </a:rPr>
              <a:t>Hospital to community</a:t>
            </a:r>
          </a:p>
          <a:p>
            <a:pPr marL="457200" indent="-457200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AutoNum type="arabicPeriod"/>
            </a:pPr>
            <a:r>
              <a:rPr lang="en-US" sz="2400" dirty="0">
                <a:solidFill>
                  <a:srgbClr val="3E3E3F"/>
                </a:solidFill>
                <a:latin typeface="Segoe UI"/>
                <a:cs typeface="Segoe UI"/>
              </a:rPr>
              <a:t>Analogue to digital</a:t>
            </a:r>
          </a:p>
        </p:txBody>
      </p:sp>
    </p:spTree>
    <p:extLst>
      <p:ext uri="{BB962C8B-B14F-4D97-AF65-F5344CB8AC3E}">
        <p14:creationId xmlns:p14="http://schemas.microsoft.com/office/powerpoint/2010/main" val="7352422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730A91-5F28-DACC-28AA-9978339887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>
                <a:latin typeface="Arial"/>
                <a:cs typeface="Arial"/>
              </a:rPr>
              <a:t>THE NEW GOVERNMENT’S ANALYSIS AND DIRECTION TO THE NHS IS CLEAR</a:t>
            </a:r>
            <a:endParaRPr lang="en-US" dirty="0"/>
          </a:p>
        </p:txBody>
      </p:sp>
      <p:pic>
        <p:nvPicPr>
          <p:cNvPr id="14" name="Content Placeholder 13" descr="A person in a suit and tie&#10;&#10;Description automatically generated">
            <a:extLst>
              <a:ext uri="{FF2B5EF4-FFF2-40B4-BE49-F238E27FC236}">
                <a16:creationId xmlns:a16="http://schemas.microsoft.com/office/drawing/2014/main" id="{710C665E-4F86-3C08-2EAF-303A7083A6C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6916057" y="1257533"/>
            <a:ext cx="4437743" cy="2498709"/>
          </a:xfrm>
        </p:spPr>
      </p:pic>
      <p:sp>
        <p:nvSpPr>
          <p:cNvPr id="18" name="Title 6">
            <a:extLst>
              <a:ext uri="{FF2B5EF4-FFF2-40B4-BE49-F238E27FC236}">
                <a16:creationId xmlns:a16="http://schemas.microsoft.com/office/drawing/2014/main" id="{B2BE3B78-BD04-4FAE-9DE2-B57BF07576B4}"/>
              </a:ext>
            </a:extLst>
          </p:cNvPr>
          <p:cNvSpPr txBox="1">
            <a:spLocks/>
          </p:cNvSpPr>
          <p:nvPr/>
        </p:nvSpPr>
        <p:spPr>
          <a:xfrm>
            <a:off x="1105567" y="4138533"/>
            <a:ext cx="10263511" cy="1914476"/>
          </a:xfrm>
          <a:prstGeom prst="rect">
            <a:avLst/>
          </a:prstGeom>
          <a:solidFill>
            <a:schemeClr val="accent2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GB" sz="2300" b="0" dirty="0">
                <a:solidFill>
                  <a:srgbClr val="192441"/>
                </a:solidFill>
                <a:latin typeface="Segoe UI"/>
                <a:cs typeface="Segoe UI"/>
              </a:rPr>
              <a:t>I want to frame this plan around three big shifts – </a:t>
            </a:r>
            <a:r>
              <a:rPr lang="en-GB" sz="2300" b="0" dirty="0">
                <a:solidFill>
                  <a:srgbClr val="192441"/>
                </a:solidFill>
                <a:latin typeface="Segoe UI Semibold"/>
                <a:cs typeface="Segoe UI"/>
              </a:rPr>
              <a:t>first, moving from an analogue to a digital NHS</a:t>
            </a:r>
            <a:r>
              <a:rPr lang="en-GB" sz="2300" b="0" dirty="0">
                <a:solidFill>
                  <a:srgbClr val="192441"/>
                </a:solidFill>
                <a:latin typeface="Segoe UI"/>
                <a:cs typeface="Segoe UI"/>
              </a:rPr>
              <a:t>. A tomorrow service, not just a today service. Second, we’ve got to shift more care from hospitals to communities. And third, we’ve got to be much bolder in moving from sickness to prevention.</a:t>
            </a:r>
            <a:endParaRPr lang="en-GB" sz="2300" b="0" dirty="0">
              <a:latin typeface="Segoe UI"/>
              <a:cs typeface="Segoe UI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124EDC4-E124-48CA-A3E5-A7BAE714046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8737" y="3818939"/>
            <a:ext cx="520234" cy="52023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62B65EA-AC89-4ABC-B340-3D1D0C46A7B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10737642" y="5532775"/>
            <a:ext cx="520234" cy="520234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D43B979E-D446-4271-8711-D4BD8EC473F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6"/>
          <a:stretch/>
        </p:blipFill>
        <p:spPr>
          <a:xfrm>
            <a:off x="1105567" y="1284982"/>
            <a:ext cx="4632960" cy="2534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99428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F2C41381-DEEB-4607-B931-C233E37B94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37677"/>
            <a:ext cx="10515600" cy="919855"/>
          </a:xfrm>
        </p:spPr>
        <p:txBody>
          <a:bodyPr>
            <a:normAutofit/>
          </a:bodyPr>
          <a:lstStyle/>
          <a:p>
            <a:r>
              <a:rPr lang="en-US" dirty="0">
                <a:latin typeface="Arial"/>
                <a:cs typeface="Arial"/>
              </a:rPr>
              <a:t>THE GOVERNMENT’S ANALYSIS AND DIRECTION TO THE NHS IS CLEAR</a:t>
            </a:r>
            <a:endParaRPr lang="en-US" dirty="0"/>
          </a:p>
        </p:txBody>
      </p:sp>
      <p:sp>
        <p:nvSpPr>
          <p:cNvPr id="6" name="Title 6">
            <a:extLst>
              <a:ext uri="{FF2B5EF4-FFF2-40B4-BE49-F238E27FC236}">
                <a16:creationId xmlns:a16="http://schemas.microsoft.com/office/drawing/2014/main" id="{4C79D072-F40B-4B3F-BCE7-F3F9805B1446}"/>
              </a:ext>
            </a:extLst>
          </p:cNvPr>
          <p:cNvSpPr txBox="1">
            <a:spLocks/>
          </p:cNvSpPr>
          <p:nvPr/>
        </p:nvSpPr>
        <p:spPr>
          <a:xfrm>
            <a:off x="1105567" y="4138533"/>
            <a:ext cx="10263511" cy="1914476"/>
          </a:xfrm>
          <a:prstGeom prst="rect">
            <a:avLst/>
          </a:prstGeom>
          <a:solidFill>
            <a:schemeClr val="accent2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GB" sz="2300" b="0" dirty="0">
                <a:solidFill>
                  <a:srgbClr val="192441"/>
                </a:solidFill>
                <a:latin typeface="Segoe UI"/>
                <a:cs typeface="Segoe UI"/>
              </a:rPr>
              <a:t>We are investing </a:t>
            </a:r>
            <a:r>
              <a:rPr lang="en-GB" sz="2300" b="0" dirty="0">
                <a:solidFill>
                  <a:srgbClr val="19244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£10 billion to bring our analogue heath system into the digital age</a:t>
            </a:r>
            <a:r>
              <a:rPr lang="en-GB" sz="2300" b="0" dirty="0">
                <a:solidFill>
                  <a:srgbClr val="192441"/>
                </a:solidFill>
                <a:latin typeface="Segoe UI"/>
                <a:cs typeface="Segoe UI"/>
              </a:rPr>
              <a:t>, including through the NHS app, so patients can manage their prescriptions, get their test results, and book appointments all in one place. </a:t>
            </a:r>
            <a:endParaRPr lang="en-GB" sz="2300" b="0" dirty="0">
              <a:latin typeface="Segoe UI"/>
              <a:cs typeface="Segoe UI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E2A0E75-418B-4990-96F1-0EADC4C6870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8737" y="3818939"/>
            <a:ext cx="520234" cy="52023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A5C9F01-B19B-49CA-BBBD-2145C54B9D4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10737642" y="5532775"/>
            <a:ext cx="520234" cy="52023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7ACC970-6C2D-4B57-AAB7-FB3C4A9FA12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4210" y="1257532"/>
            <a:ext cx="4474868" cy="2523617"/>
          </a:xfrm>
          <a:prstGeom prst="round2DiagRect">
            <a:avLst/>
          </a:prstGeom>
        </p:spPr>
      </p:pic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483AAD5-F578-4174-B3C8-A621AEC6E67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57531"/>
            <a:ext cx="6056010" cy="2523617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285750" indent="-285750">
              <a:lnSpc>
                <a:spcPct val="110000"/>
              </a:lnSpc>
              <a:spcBef>
                <a:spcPct val="0"/>
              </a:spcBef>
              <a:buSzPct val="150000"/>
              <a:buBlip>
                <a:blip r:embed="rId5"/>
              </a:buBlip>
            </a:pPr>
            <a:r>
              <a:rPr lang="en-GB" sz="2100" b="1" dirty="0">
                <a:latin typeface="Arial"/>
                <a:cs typeface="Arial"/>
              </a:rPr>
              <a:t>£29bn</a:t>
            </a:r>
            <a:r>
              <a:rPr lang="en-GB" sz="2100" dirty="0">
                <a:latin typeface="Arial"/>
                <a:cs typeface="Arial"/>
              </a:rPr>
              <a:t> annual increase in NHS day-to-day funding.</a:t>
            </a:r>
          </a:p>
          <a:p>
            <a:pPr marL="285750" indent="-285750">
              <a:lnSpc>
                <a:spcPct val="110000"/>
              </a:lnSpc>
              <a:spcBef>
                <a:spcPct val="0"/>
              </a:spcBef>
              <a:buSzPct val="150000"/>
              <a:buBlip>
                <a:blip r:embed="rId5"/>
              </a:buBlip>
            </a:pPr>
            <a:r>
              <a:rPr lang="en-GB" sz="2100" b="1" dirty="0">
                <a:latin typeface="Arial"/>
                <a:cs typeface="Arial"/>
              </a:rPr>
              <a:t>Up to £10bn</a:t>
            </a:r>
            <a:r>
              <a:rPr lang="en-GB" sz="2100" dirty="0">
                <a:latin typeface="Arial"/>
                <a:cs typeface="Arial"/>
              </a:rPr>
              <a:t> for technology and digital transformation.</a:t>
            </a:r>
          </a:p>
          <a:p>
            <a:pPr marL="285750" indent="-285750">
              <a:lnSpc>
                <a:spcPct val="110000"/>
              </a:lnSpc>
              <a:spcBef>
                <a:spcPct val="0"/>
              </a:spcBef>
              <a:buSzPct val="150000"/>
              <a:buBlip>
                <a:blip r:embed="rId5"/>
              </a:buBlip>
            </a:pPr>
            <a:r>
              <a:rPr lang="en-GB" sz="2100" b="1" dirty="0"/>
              <a:t>£600bn</a:t>
            </a:r>
            <a:r>
              <a:rPr lang="en-GB" sz="2100" dirty="0"/>
              <a:t> to be invested over the next 3-4 years across public services.</a:t>
            </a:r>
            <a:endParaRPr lang="en-GB" sz="2100" dirty="0">
              <a:latin typeface="Arial"/>
              <a:cs typeface="Arial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3FB5833-8D0F-42E8-BE1F-DC24F413C6DB}"/>
              </a:ext>
            </a:extLst>
          </p:cNvPr>
          <p:cNvSpPr txBox="1"/>
          <p:nvPr/>
        </p:nvSpPr>
        <p:spPr>
          <a:xfrm>
            <a:off x="6825672" y="3512124"/>
            <a:ext cx="224478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>
                <a:solidFill>
                  <a:schemeClr val="bg1"/>
                </a:solidFill>
                <a:highlight>
                  <a:srgbClr val="141D35"/>
                </a:highlight>
                <a:latin typeface="Segoe UI Semibold" panose="020B0702040204020203" pitchFamily="34" charset="0"/>
                <a:cs typeface="Segoe UI Semibold" panose="020B0702040204020203" pitchFamily="34" charset="0"/>
              </a:rPr>
              <a:t>Chancellor Rachel Reeves</a:t>
            </a:r>
          </a:p>
        </p:txBody>
      </p:sp>
    </p:spTree>
    <p:extLst>
      <p:ext uri="{BB962C8B-B14F-4D97-AF65-F5344CB8AC3E}">
        <p14:creationId xmlns:p14="http://schemas.microsoft.com/office/powerpoint/2010/main" val="42496376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zj8KCShEaiTX0AkPY8mv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HqMP0T4wUnIZ0YKrm9V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hHnqUVj.EZpTOt7Gkv.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PQjYkR_.RRNaCKmyq7b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54uTP_SS7vFTaXN5eKf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tiOuB0jDcBRjTy9Qg_7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L0opKL.ErhAUcJ60Y3Y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TVTkmNDRMv97ZO3IQc4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fzvUbYY.bATyQ2N1lcE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J8EKnYxgfsoRqFbKLeZ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VOHg65BEA6nA38iXrLS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9KIsmp7HXMgvS86LwHaL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QHH_O2EVIYLgd58xiD7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fE8iagOx5FwvKnNz0cm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cmq5M8i6GzRu8C5RZ00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0JguEhD65RkZ_0TKlRCf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5c_SdU792VgGCJj9sN_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mEhp621OrJsso_0djn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_PvYZuBblvzXgVfCgve4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UClpttywKbY7ismQ5EU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6AVjVTIQSH9wyoxYl.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WnBsG76Xbo4iJlFCB16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6xxUL5n.46wKYqlPcTb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EJ31XN6D7F8KOmDy_AM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YnKMAjMe4.I6e6xrSDE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oj09qiGdcYsyCzuZkcv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4Lv6A8jzt_on2wGLgXKX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imGh5gce6EV.gAAhM5U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Fjevk.xrFHk955ONUJO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Fv4CBoTZwErygPLvRx4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.jZnS26Ff8dwMG_oMePG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9dtc1wq5lQUWul58Tb6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IXpo0t91iAvmcJSpQcs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IRogvw8lW4RkHMUPTKP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V7etUv9U7.9hmgDypnL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hvzDAURBwbD3UxLGHmQ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6uAPpCs4a6l33s_cRpH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X44tcTvq3fRWK8tlaJj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2coXCB6G3FYgJDzBP6k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MOcMlbcHTNt8zQ5UlCP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ATYZe900AVR28.6lFEr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AKNrGGytbmsEyrAHOve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7ouEZ6Oh3yOtlLlOuX6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xnCSZ4_SQYPpeb5YzTU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KWlB5bRjBDmBRHthZt2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2NyoiSc9ZrRbMVIRYoBc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XRM2QYT93Jmkkda08Ry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m9b_0_f3Fk7NIVQ7W2.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53EWA_b0Yd41cvFq7dj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.o4Uu7jWjzzORza.RF6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msV.azM7Qj3WUY7O6MO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QSsFCa_4oJ6BP8B20SH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1jsEBE7YC0vatOlkSjE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au2ILT0kB2spzKJsmFy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XDtCnv3QIxNrAOE91VH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jLdCEjS5.XMzjEBn.Ek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xP16UBcCUh65vE7bAqQ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dOwuoLGXy6cMBy_vryt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Em68EupVkoGuL.tkzHE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FT9Ru7wczoRUprtK7Zu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YpvqX7OdoZkiV3WfePF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vcZbUW38nTDLFOO8KbL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FX5VY0Tx55LhzOlmpvt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KnlzwKzFwi7yM6qrXE4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ByykoJIm1v2LIEG0nuVC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S0EMpECJaUCUODQWl6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BvEeaONP0D6HwtweIeu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jorHGbi9KPRpnXcuiP62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8KbYcllGwCjdE.CqyP_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TFInyLzhlgNrLPqrrSpN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7yp4xBRZqoYiZMED5Sf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DWU_POKuEm5P796MCnJ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JfTStzFdU.XfKlW93yD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f.7LMiX8ZjYJh1AfT_V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d3yES3WtNfp5r96aw2f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wFxlB0bEjawAnYezqSH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vknztJmyqmJI5Bbp2zw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_q0G4TDUHAMN_uE85Hj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ULmxEEN0l8ELnhLamoA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sp2fTUWDh3oV3e9rBLH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5KxtBzdsNMWX6PtBALb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Z65CspfWfwhlUZTSIiwg"/>
</p:tagLst>
</file>

<file path=ppt/theme/theme1.xml><?xml version="1.0" encoding="utf-8"?>
<a:theme xmlns:a="http://schemas.openxmlformats.org/drawingml/2006/main" name="Office Theme">
  <a:themeElements>
    <a:clrScheme name="Custom 1">
      <a:dk1>
        <a:srgbClr val="192441"/>
      </a:dk1>
      <a:lt1>
        <a:srgbClr val="FFFFFF"/>
      </a:lt1>
      <a:dk2>
        <a:srgbClr val="3E3E3F"/>
      </a:dk2>
      <a:lt2>
        <a:srgbClr val="81C9EB"/>
      </a:lt2>
      <a:accent1>
        <a:srgbClr val="FDD567"/>
      </a:accent1>
      <a:accent2>
        <a:srgbClr val="EBF5FC"/>
      </a:accent2>
      <a:accent3>
        <a:srgbClr val="81C9EB"/>
      </a:accent3>
      <a:accent4>
        <a:srgbClr val="192441"/>
      </a:accent4>
      <a:accent5>
        <a:srgbClr val="3E3E3F"/>
      </a:accent5>
      <a:accent6>
        <a:srgbClr val="939598"/>
      </a:accent6>
      <a:hlink>
        <a:srgbClr val="EE3724"/>
      </a:hlink>
      <a:folHlink>
        <a:srgbClr val="192441"/>
      </a:folHlink>
    </a:clrScheme>
    <a:fontScheme name="CereCore Default">
      <a:majorFont>
        <a:latin typeface="Arial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931A9D8769AC64D91B9BEEFA083F657" ma:contentTypeVersion="21" ma:contentTypeDescription="Create a new document." ma:contentTypeScope="" ma:versionID="c758c68d90558db9ba10561d165978f0">
  <xsd:schema xmlns:xsd="http://www.w3.org/2001/XMLSchema" xmlns:xs="http://www.w3.org/2001/XMLSchema" xmlns:p="http://schemas.microsoft.com/office/2006/metadata/properties" xmlns:ns2="c7dd6df9-d5eb-4d36-bef9-35a10bd02389" xmlns:ns3="898fff4b-d565-43dd-992c-a8100af1db3d" targetNamespace="http://schemas.microsoft.com/office/2006/metadata/properties" ma:root="true" ma:fieldsID="f974054ebf9a066c39af54be96c5acee" ns2:_="" ns3:_="">
    <xsd:import namespace="c7dd6df9-d5eb-4d36-bef9-35a10bd02389"/>
    <xsd:import namespace="898fff4b-d565-43dd-992c-a8100af1db3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2:MediaLengthInSeconds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ProjectManager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7dd6df9-d5eb-4d36-bef9-35a10bd0238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038ec787-7a9b-4db7-b31a-f65a072b3c7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ProjectManager" ma:index="24" nillable="true" ma:displayName="Project Manager" ma:format="Dropdown" ma:internalName="ProjectManager">
      <xsd:simpleType>
        <xsd:union memberTypes="dms:Text">
          <xsd:simpleType>
            <xsd:restriction base="dms:Choice">
              <xsd:enumeration value="David Clatworthy"/>
              <xsd:enumeration value="Ritchie Nield"/>
              <xsd:enumeration value="Cerys Butcher"/>
              <xsd:enumeration value="Alister Harding"/>
            </xsd:restriction>
          </xsd:simpleType>
        </xsd:union>
      </xsd:simple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7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98fff4b-d565-43dd-992c-a8100af1db3d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3d642039-a029-4bba-96d8-66bf512d3595}" ma:internalName="TaxCatchAll" ma:showField="CatchAllData" ma:web="898fff4b-d565-43dd-992c-a8100af1db3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c7dd6df9-d5eb-4d36-bef9-35a10bd02389">
      <Terms xmlns="http://schemas.microsoft.com/office/infopath/2007/PartnerControls"/>
    </lcf76f155ced4ddcb4097134ff3c332f>
    <TaxCatchAll xmlns="898fff4b-d565-43dd-992c-a8100af1db3d" xsi:nil="true"/>
    <ProjectManager xmlns="c7dd6df9-d5eb-4d36-bef9-35a10bd02389" xsi:nil="true"/>
  </documentManagement>
</p:properties>
</file>

<file path=customXml/itemProps1.xml><?xml version="1.0" encoding="utf-8"?>
<ds:datastoreItem xmlns:ds="http://schemas.openxmlformats.org/officeDocument/2006/customXml" ds:itemID="{18C4D6DA-A6D8-4B48-9F15-2EEF17CB13E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7dd6df9-d5eb-4d36-bef9-35a10bd02389"/>
    <ds:schemaRef ds:uri="898fff4b-d565-43dd-992c-a8100af1db3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40F4604-6607-4AA5-BC0B-645C9891734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8D67C15-0BDC-44C4-AE49-BCAF5AF7561A}">
  <ds:schemaRefs>
    <ds:schemaRef ds:uri="c0717a8b-d557-4619-bef1-9f527d9e3946"/>
    <ds:schemaRef ds:uri="http://www.w3.org/XML/1998/namespace"/>
    <ds:schemaRef ds:uri="http://schemas.microsoft.com/office/infopath/2007/PartnerControls"/>
    <ds:schemaRef ds:uri="http://schemas.microsoft.com/office/2006/metadata/properties"/>
    <ds:schemaRef ds:uri="http://purl.org/dc/terms/"/>
    <ds:schemaRef ds:uri="http://schemas.microsoft.com/office/2006/documentManagement/types"/>
    <ds:schemaRef ds:uri="d7491f70-885d-4403-9d39-5e932bb3abc8"/>
    <ds:schemaRef ds:uri="http://purl.org/dc/dcmitype/"/>
    <ds:schemaRef ds:uri="http://purl.org/dc/elements/1.1/"/>
    <ds:schemaRef ds:uri="http://schemas.openxmlformats.org/package/2006/metadata/core-properties"/>
    <ds:schemaRef ds:uri="c7dd6df9-d5eb-4d36-bef9-35a10bd02389"/>
    <ds:schemaRef ds:uri="898fff4b-d565-43dd-992c-a8100af1db3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5</TotalTime>
  <Words>1407</Words>
  <Application>Microsoft Office PowerPoint</Application>
  <PresentationFormat>Widescreen</PresentationFormat>
  <Paragraphs>188</Paragraphs>
  <Slides>17</Slides>
  <Notes>9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18" baseType="lpstr">
      <vt:lpstr>Office Theme</vt:lpstr>
      <vt:lpstr>Driving Digital Transformation In Healthcare</vt:lpstr>
      <vt:lpstr>PUBLIC SATISFACTION WITH NHS IS DECLINING</vt:lpstr>
      <vt:lpstr>A&amp;E WAITING TIME PERFORMANCE HAS DETERIORATED OVER THE PAST DECADE</vt:lpstr>
      <vt:lpstr>7.5 MILLION PEOPLE WERE WAITING FOR ELECTIVE CARE BY NOVEMBER 2024</vt:lpstr>
      <vt:lpstr>PATIENTS ARE FACING DIFFICULTIES IN ACCESSING CARE, WITH INCREASING GP WAIT TIMES</vt:lpstr>
      <vt:lpstr>SIX GLOBAL CHALLENGES</vt:lpstr>
      <vt:lpstr>"SERIOUS TROUBLE" - THE DIAGNOSIS</vt:lpstr>
      <vt:lpstr>THE NEW GOVERNMENT’S ANALYSIS AND DIRECTION TO THE NHS IS CLEAR</vt:lpstr>
      <vt:lpstr>THE GOVERNMENT’S ANALYSIS AND DIRECTION TO THE NHS IS CLEAR</vt:lpstr>
      <vt:lpstr>HEALTHCARE IS THE LAST MAJOR INDUSTRY OVERDUE FOR FULL DIGITAL REINVENTION</vt:lpstr>
      <vt:lpstr>IT'S NOT ONLY ABOUT THE PRODUCT. IT'S ABOUT THE IMPLEMENTATION</vt:lpstr>
      <vt:lpstr>ACUTE: EPR DIGITAL MATURITY VARYING BY VENDOR</vt:lpstr>
      <vt:lpstr>PowerPoint Presentation</vt:lpstr>
      <vt:lpstr>HOW WE CAN HELP</vt:lpstr>
      <vt:lpstr>OPTIMISATION: REALISING LONG-TERM VALUE</vt:lpstr>
      <vt:lpstr>KEY TAKEAWAYS</vt:lpstr>
      <vt:lpstr>PowerPoint Presentation</vt:lpstr>
    </vt:vector>
  </TitlesOfParts>
  <Company>HC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Uram Bailey</dc:creator>
  <cp:lastModifiedBy>Iro Akrioti</cp:lastModifiedBy>
  <cp:revision>106</cp:revision>
  <dcterms:created xsi:type="dcterms:W3CDTF">2021-09-23T17:32:51Z</dcterms:created>
  <dcterms:modified xsi:type="dcterms:W3CDTF">2025-10-01T00:26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931A9D8769AC64D91B9BEEFA083F657</vt:lpwstr>
  </property>
  <property fmtid="{D5CDD505-2E9C-101B-9397-08002B2CF9AE}" pid="3" name="MediaServiceImageTags">
    <vt:lpwstr/>
  </property>
</Properties>
</file>